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33" r:id="rId4"/>
  </p:sldMasterIdLst>
  <p:notesMasterIdLst>
    <p:notesMasterId r:id="rId17"/>
  </p:notesMasterIdLst>
  <p:handoutMasterIdLst>
    <p:handoutMasterId r:id="rId18"/>
  </p:handoutMasterIdLst>
  <p:sldIdLst>
    <p:sldId id="256" r:id="rId5"/>
    <p:sldId id="257" r:id="rId6"/>
    <p:sldId id="260" r:id="rId7"/>
    <p:sldId id="261" r:id="rId8"/>
    <p:sldId id="2147472858" r:id="rId9"/>
    <p:sldId id="2147472853" r:id="rId10"/>
    <p:sldId id="2147472855" r:id="rId11"/>
    <p:sldId id="2147472854" r:id="rId12"/>
    <p:sldId id="5447" r:id="rId13"/>
    <p:sldId id="262" r:id="rId14"/>
    <p:sldId id="2147472860" r:id="rId15"/>
    <p:sldId id="2147472856" r:id="rId16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4444"/>
    <a:srgbClr val="000000"/>
    <a:srgbClr val="F2F2F2"/>
    <a:srgbClr val="F4F4F4"/>
    <a:srgbClr val="DA291C"/>
    <a:srgbClr val="959CA0"/>
    <a:srgbClr val="FE8A12"/>
    <a:srgbClr val="F4C65A"/>
    <a:srgbClr val="FFE2C4"/>
    <a:srgbClr val="FEC4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F00A63-45C5-BAF9-AEA3-5358394473AA}" v="180" dt="2025-02-04T16:10:17.933"/>
    <p1510:client id="{61013073-C209-1D3B-EFC7-85BB6B7D57B8}" v="25" dt="2025-02-05T11:21:32.936"/>
    <p1510:client id="{7EED2414-EC2D-D774-D2E5-48B6A5DB8EEE}" v="142" dt="2025-02-05T13:12:36.586"/>
    <p1510:client id="{A03EA1B3-E011-35F6-E9A0-736D55065E34}" v="10" dt="2025-02-04T14:57:12.346"/>
    <p1510:client id="{B4FFC5A9-483E-276F-8F86-3F5D405182E6}" v="40" dt="2025-02-04T15:28:13.842"/>
    <p1510:client id="{EA8C538A-A47D-C0EB-0878-71F37A82B341}" v="412" dt="2025-02-05T06:50:02.456"/>
    <p1510:client id="{F393526D-1B7B-5F9D-8251-1648A8FCF8CE}" v="1" dt="2025-02-05T08:02:11.3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, Harikiran" userId="S::harikiran.n@iqvia.com::28d9c92f-b926-4640-a929-2dab1cc5d2ab" providerId="AD" clId="Web-{0DF00A63-45C5-BAF9-AEA3-5358394473AA}"/>
    <pc:docChg chg="addSld modSld">
      <pc:chgData name="N, Harikiran" userId="S::harikiran.n@iqvia.com::28d9c92f-b926-4640-a929-2dab1cc5d2ab" providerId="AD" clId="Web-{0DF00A63-45C5-BAF9-AEA3-5358394473AA}" dt="2025-02-04T16:10:17.933" v="483"/>
      <pc:docMkLst>
        <pc:docMk/>
      </pc:docMkLst>
      <pc:sldChg chg="addSp delSp modSp">
        <pc:chgData name="N, Harikiran" userId="S::harikiran.n@iqvia.com::28d9c92f-b926-4640-a929-2dab1cc5d2ab" providerId="AD" clId="Web-{0DF00A63-45C5-BAF9-AEA3-5358394473AA}" dt="2025-02-04T15:31:43.684" v="17" actId="688"/>
        <pc:sldMkLst>
          <pc:docMk/>
          <pc:sldMk cId="2128451513" sldId="261"/>
        </pc:sldMkLst>
        <pc:spChg chg="mod">
          <ac:chgData name="N, Harikiran" userId="S::harikiran.n@iqvia.com::28d9c92f-b926-4640-a929-2dab1cc5d2ab" providerId="AD" clId="Web-{0DF00A63-45C5-BAF9-AEA3-5358394473AA}" dt="2025-02-04T15:31:43.684" v="17" actId="688"/>
          <ac:spMkLst>
            <pc:docMk/>
            <pc:sldMk cId="2128451513" sldId="261"/>
            <ac:spMk id="4" creationId="{F625C0E1-5699-BF39-6140-A5C7934717FB}"/>
          </ac:spMkLst>
        </pc:spChg>
        <pc:spChg chg="add del mod">
          <ac:chgData name="N, Harikiran" userId="S::harikiran.n@iqvia.com::28d9c92f-b926-4640-a929-2dab1cc5d2ab" providerId="AD" clId="Web-{0DF00A63-45C5-BAF9-AEA3-5358394473AA}" dt="2025-02-04T15:31:21.262" v="13"/>
          <ac:spMkLst>
            <pc:docMk/>
            <pc:sldMk cId="2128451513" sldId="261"/>
            <ac:spMk id="6" creationId="{4886B8A9-2E5D-CC36-2924-C3FE47A04603}"/>
          </ac:spMkLst>
        </pc:spChg>
        <pc:picChg chg="del">
          <ac:chgData name="N, Harikiran" userId="S::harikiran.n@iqvia.com::28d9c92f-b926-4640-a929-2dab1cc5d2ab" providerId="AD" clId="Web-{0DF00A63-45C5-BAF9-AEA3-5358394473AA}" dt="2025-02-04T15:31:10.261" v="11"/>
          <ac:picMkLst>
            <pc:docMk/>
            <pc:sldMk cId="2128451513" sldId="261"/>
            <ac:picMk id="2" creationId="{95B05FBA-4DF2-682C-64C3-C4DB1F80768A}"/>
          </ac:picMkLst>
        </pc:picChg>
        <pc:picChg chg="mod">
          <ac:chgData name="N, Harikiran" userId="S::harikiran.n@iqvia.com::28d9c92f-b926-4640-a929-2dab1cc5d2ab" providerId="AD" clId="Web-{0DF00A63-45C5-BAF9-AEA3-5358394473AA}" dt="2025-02-04T15:31:24.746" v="14" actId="1076"/>
          <ac:picMkLst>
            <pc:docMk/>
            <pc:sldMk cId="2128451513" sldId="261"/>
            <ac:picMk id="3" creationId="{0597DFA2-2BE8-5C7E-E797-B6A8475DECC3}"/>
          </ac:picMkLst>
        </pc:picChg>
      </pc:sldChg>
      <pc:sldChg chg="addSp delSp modSp">
        <pc:chgData name="N, Harikiran" userId="S::harikiran.n@iqvia.com::28d9c92f-b926-4640-a929-2dab1cc5d2ab" providerId="AD" clId="Web-{0DF00A63-45C5-BAF9-AEA3-5358394473AA}" dt="2025-02-04T16:10:17.933" v="483"/>
        <pc:sldMkLst>
          <pc:docMk/>
          <pc:sldMk cId="2102116195" sldId="262"/>
        </pc:sldMkLst>
        <pc:spChg chg="add del">
          <ac:chgData name="N, Harikiran" userId="S::harikiran.n@iqvia.com::28d9c92f-b926-4640-a929-2dab1cc5d2ab" providerId="AD" clId="Web-{0DF00A63-45C5-BAF9-AEA3-5358394473AA}" dt="2025-02-04T16:08:41.257" v="403"/>
          <ac:spMkLst>
            <pc:docMk/>
            <pc:sldMk cId="2102116195" sldId="262"/>
            <ac:spMk id="3" creationId="{555A8652-FC58-9B8F-5529-56701E880A03}"/>
          </ac:spMkLst>
        </pc:spChg>
        <pc:spChg chg="add del mod">
          <ac:chgData name="N, Harikiran" userId="S::harikiran.n@iqvia.com::28d9c92f-b926-4640-a929-2dab1cc5d2ab" providerId="AD" clId="Web-{0DF00A63-45C5-BAF9-AEA3-5358394473AA}" dt="2025-02-04T16:09:38.572" v="475"/>
          <ac:spMkLst>
            <pc:docMk/>
            <pc:sldMk cId="2102116195" sldId="262"/>
            <ac:spMk id="5" creationId="{30DF83FB-8158-7679-5DFC-06AA93C63DE5}"/>
          </ac:spMkLst>
        </pc:spChg>
        <pc:spChg chg="del mod">
          <ac:chgData name="N, Harikiran" userId="S::harikiran.n@iqvia.com::28d9c92f-b926-4640-a929-2dab1cc5d2ab" providerId="AD" clId="Web-{0DF00A63-45C5-BAF9-AEA3-5358394473AA}" dt="2025-02-04T16:10:14.589" v="482"/>
          <ac:spMkLst>
            <pc:docMk/>
            <pc:sldMk cId="2102116195" sldId="262"/>
            <ac:spMk id="6" creationId="{0EEAC5F0-6DD4-0700-AF82-ED09E70C6A38}"/>
          </ac:spMkLst>
        </pc:spChg>
        <pc:spChg chg="mod">
          <ac:chgData name="N, Harikiran" userId="S::harikiran.n@iqvia.com::28d9c92f-b926-4640-a929-2dab1cc5d2ab" providerId="AD" clId="Web-{0DF00A63-45C5-BAF9-AEA3-5358394473AA}" dt="2025-02-04T16:09:24.337" v="464" actId="14100"/>
          <ac:spMkLst>
            <pc:docMk/>
            <pc:sldMk cId="2102116195" sldId="262"/>
            <ac:spMk id="7" creationId="{06CF0BE4-BD20-8F6B-6830-76CCBDE2880F}"/>
          </ac:spMkLst>
        </pc:spChg>
        <pc:spChg chg="mod">
          <ac:chgData name="N, Harikiran" userId="S::harikiran.n@iqvia.com::28d9c92f-b926-4640-a929-2dab1cc5d2ab" providerId="AD" clId="Web-{0DF00A63-45C5-BAF9-AEA3-5358394473AA}" dt="2025-02-04T16:09:24.337" v="465" actId="14100"/>
          <ac:spMkLst>
            <pc:docMk/>
            <pc:sldMk cId="2102116195" sldId="262"/>
            <ac:spMk id="8" creationId="{52383FBA-D8BA-02C1-7904-FD1779DDE0F6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8:56.414" v="425"/>
          <ac:spMkLst>
            <pc:docMk/>
            <pc:sldMk cId="2102116195" sldId="262"/>
            <ac:spMk id="10" creationId="{FE535A7F-5D78-C13D-1631-EE7FCB4CD7F6}"/>
          </ac:spMkLst>
        </pc:spChg>
        <pc:spChg chg="add del mod">
          <ac:chgData name="N, Harikiran" userId="S::harikiran.n@iqvia.com::28d9c92f-b926-4640-a929-2dab1cc5d2ab" providerId="AD" clId="Web-{0DF00A63-45C5-BAF9-AEA3-5358394473AA}" dt="2025-02-04T16:10:17.933" v="483"/>
          <ac:spMkLst>
            <pc:docMk/>
            <pc:sldMk cId="2102116195" sldId="262"/>
            <ac:spMk id="12" creationId="{4379657D-A258-18DF-85F0-C04349F165EF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8:59.508" v="426"/>
          <ac:spMkLst>
            <pc:docMk/>
            <pc:sldMk cId="2102116195" sldId="262"/>
            <ac:spMk id="14" creationId="{8767E579-4BDE-D4F7-D5B7-94A72F238AFA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02.570" v="431"/>
          <ac:spMkLst>
            <pc:docMk/>
            <pc:sldMk cId="2102116195" sldId="262"/>
            <ac:spMk id="16" creationId="{23C75D28-5498-3CEA-1237-B76381CF6585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01.133" v="429"/>
          <ac:spMkLst>
            <pc:docMk/>
            <pc:sldMk cId="2102116195" sldId="262"/>
            <ac:spMk id="18" creationId="{CF3FC9F9-CB24-8DE7-297C-5BE1C098F285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00.883" v="428"/>
          <ac:spMkLst>
            <pc:docMk/>
            <pc:sldMk cId="2102116195" sldId="262"/>
            <ac:spMk id="20" creationId="{A35D0F1E-E923-1C6E-0846-32B27891F8D8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01.898" v="430"/>
          <ac:spMkLst>
            <pc:docMk/>
            <pc:sldMk cId="2102116195" sldId="262"/>
            <ac:spMk id="22" creationId="{E7D906A2-C4E0-942E-3196-88927A510DA4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32.493" v="472"/>
          <ac:spMkLst>
            <pc:docMk/>
            <pc:sldMk cId="2102116195" sldId="262"/>
            <ac:spMk id="24" creationId="{A30A8006-DE77-B0D4-216E-B960BC776DC6}"/>
          </ac:spMkLst>
        </pc:spChg>
        <pc:spChg chg="add del mod">
          <ac:chgData name="N, Harikiran" userId="S::harikiran.n@iqvia.com::28d9c92f-b926-4640-a929-2dab1cc5d2ab" providerId="AD" clId="Web-{0DF00A63-45C5-BAF9-AEA3-5358394473AA}" dt="2025-02-04T16:09:53.541" v="477"/>
          <ac:spMkLst>
            <pc:docMk/>
            <pc:sldMk cId="2102116195" sldId="262"/>
            <ac:spMk id="26" creationId="{20F70CBF-C366-8619-D8B1-AB07D4B73230}"/>
          </ac:spMkLst>
        </pc:spChg>
        <pc:spChg chg="add del mod">
          <ac:chgData name="N, Harikiran" userId="S::harikiran.n@iqvia.com::28d9c92f-b926-4640-a929-2dab1cc5d2ab" providerId="AD" clId="Web-{0DF00A63-45C5-BAF9-AEA3-5358394473AA}" dt="2025-02-04T16:09:50.119" v="476"/>
          <ac:spMkLst>
            <pc:docMk/>
            <pc:sldMk cId="2102116195" sldId="262"/>
            <ac:spMk id="28" creationId="{751B4F69-21B5-F649-4401-7114510E2049}"/>
          </ac:spMkLst>
        </pc:spChg>
        <pc:spChg chg="add mod">
          <ac:chgData name="N, Harikiran" userId="S::harikiran.n@iqvia.com::28d9c92f-b926-4640-a929-2dab1cc5d2ab" providerId="AD" clId="Web-{0DF00A63-45C5-BAF9-AEA3-5358394473AA}" dt="2025-02-04T16:09:24.337" v="458" actId="14100"/>
          <ac:spMkLst>
            <pc:docMk/>
            <pc:sldMk cId="2102116195" sldId="262"/>
            <ac:spMk id="30" creationId="{BAE458FB-FF59-5F99-A896-733F9F463E09}"/>
          </ac:spMkLst>
        </pc:spChg>
        <pc:spChg chg="add mod">
          <ac:chgData name="N, Harikiran" userId="S::harikiran.n@iqvia.com::28d9c92f-b926-4640-a929-2dab1cc5d2ab" providerId="AD" clId="Web-{0DF00A63-45C5-BAF9-AEA3-5358394473AA}" dt="2025-02-04T16:09:24.337" v="457" actId="14100"/>
          <ac:spMkLst>
            <pc:docMk/>
            <pc:sldMk cId="2102116195" sldId="262"/>
            <ac:spMk id="32" creationId="{1B24A1D0-A614-5F78-9134-45CCF647F75D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30.634" v="471"/>
          <ac:spMkLst>
            <pc:docMk/>
            <pc:sldMk cId="2102116195" sldId="262"/>
            <ac:spMk id="34" creationId="{9A7CE6A7-38CF-661B-ACA0-597F64DF49A0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04.117" v="434"/>
          <ac:spMkLst>
            <pc:docMk/>
            <pc:sldMk cId="2102116195" sldId="262"/>
            <ac:spMk id="36" creationId="{E2E1EB41-D7DA-0CA4-14E4-99CA8C40D6DE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03.648" v="433"/>
          <ac:spMkLst>
            <pc:docMk/>
            <pc:sldMk cId="2102116195" sldId="262"/>
            <ac:spMk id="38" creationId="{6C99693D-2DB6-B8D2-2BA9-93E255CCEFDA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02.945" v="432"/>
          <ac:spMkLst>
            <pc:docMk/>
            <pc:sldMk cId="2102116195" sldId="262"/>
            <ac:spMk id="40" creationId="{874591AD-8456-477A-B56C-DC2E0F3AEC4E}"/>
          </ac:spMkLst>
        </pc:spChg>
        <pc:spChg chg="add del">
          <ac:chgData name="N, Harikiran" userId="S::harikiran.n@iqvia.com::28d9c92f-b926-4640-a929-2dab1cc5d2ab" providerId="AD" clId="Web-{0DF00A63-45C5-BAF9-AEA3-5358394473AA}" dt="2025-02-04T16:09:00.195" v="427"/>
          <ac:spMkLst>
            <pc:docMk/>
            <pc:sldMk cId="2102116195" sldId="262"/>
            <ac:spMk id="42" creationId="{CD613D66-B489-FA25-FEF5-B9EEE09ECCA0}"/>
          </ac:spMkLst>
        </pc:spChg>
        <pc:spChg chg="del">
          <ac:chgData name="N, Harikiran" userId="S::harikiran.n@iqvia.com::28d9c92f-b926-4640-a929-2dab1cc5d2ab" providerId="AD" clId="Web-{0DF00A63-45C5-BAF9-AEA3-5358394473AA}" dt="2025-02-04T16:10:02.619" v="478"/>
          <ac:spMkLst>
            <pc:docMk/>
            <pc:sldMk cId="2102116195" sldId="262"/>
            <ac:spMk id="44" creationId="{9463C652-D772-78C3-49FE-6BD67B00B304}"/>
          </ac:spMkLst>
        </pc:spChg>
        <pc:spChg chg="del topLvl">
          <ac:chgData name="N, Harikiran" userId="S::harikiran.n@iqvia.com::28d9c92f-b926-4640-a929-2dab1cc5d2ab" providerId="AD" clId="Web-{0DF00A63-45C5-BAF9-AEA3-5358394473AA}" dt="2025-02-04T16:10:10.760" v="481"/>
          <ac:spMkLst>
            <pc:docMk/>
            <pc:sldMk cId="2102116195" sldId="262"/>
            <ac:spMk id="47" creationId="{D5E980BD-3CF5-C7AD-FA48-AA8BE2375644}"/>
          </ac:spMkLst>
        </pc:spChg>
        <pc:spChg chg="mod">
          <ac:chgData name="N, Harikiran" userId="S::harikiran.n@iqvia.com::28d9c92f-b926-4640-a929-2dab1cc5d2ab" providerId="AD" clId="Web-{0DF00A63-45C5-BAF9-AEA3-5358394473AA}" dt="2025-02-04T16:09:26.149" v="468" actId="20577"/>
          <ac:spMkLst>
            <pc:docMk/>
            <pc:sldMk cId="2102116195" sldId="262"/>
            <ac:spMk id="51" creationId="{1913F707-3E64-5443-E780-9A7D9F7EE643}"/>
          </ac:spMkLst>
        </pc:spChg>
        <pc:spChg chg="add del mod">
          <ac:chgData name="N, Harikiran" userId="S::harikiran.n@iqvia.com::28d9c92f-b926-4640-a929-2dab1cc5d2ab" providerId="AD" clId="Web-{0DF00A63-45C5-BAF9-AEA3-5358394473AA}" dt="2025-02-04T16:09:37.275" v="474"/>
          <ac:spMkLst>
            <pc:docMk/>
            <pc:sldMk cId="2102116195" sldId="262"/>
            <ac:spMk id="56" creationId="{702287CD-649D-DFD1-05B4-383BA1A4BB21}"/>
          </ac:spMkLst>
        </pc:spChg>
        <pc:grpChg chg="add del mod">
          <ac:chgData name="N, Harikiran" userId="S::harikiran.n@iqvia.com::28d9c92f-b926-4640-a929-2dab1cc5d2ab" providerId="AD" clId="Web-{0DF00A63-45C5-BAF9-AEA3-5358394473AA}" dt="2025-02-04T16:10:08.526" v="480"/>
          <ac:grpSpMkLst>
            <pc:docMk/>
            <pc:sldMk cId="2102116195" sldId="262"/>
            <ac:grpSpMk id="48" creationId="{2670CA30-1D50-4DB1-A3D3-3878078FA236}"/>
          </ac:grpSpMkLst>
        </pc:grpChg>
        <pc:grpChg chg="add del">
          <ac:chgData name="N, Harikiran" userId="S::harikiran.n@iqvia.com::28d9c92f-b926-4640-a929-2dab1cc5d2ab" providerId="AD" clId="Web-{0DF00A63-45C5-BAF9-AEA3-5358394473AA}" dt="2025-02-04T16:09:35.556" v="473"/>
          <ac:grpSpMkLst>
            <pc:docMk/>
            <pc:sldMk cId="2102116195" sldId="262"/>
            <ac:grpSpMk id="54" creationId="{F5886A66-C7C7-B66F-792C-A2481632359B}"/>
          </ac:grpSpMkLst>
        </pc:grpChg>
        <pc:cxnChg chg="del">
          <ac:chgData name="N, Harikiran" userId="S::harikiran.n@iqvia.com::28d9c92f-b926-4640-a929-2dab1cc5d2ab" providerId="AD" clId="Web-{0DF00A63-45C5-BAF9-AEA3-5358394473AA}" dt="2025-02-04T16:10:04.213" v="479"/>
          <ac:cxnSpMkLst>
            <pc:docMk/>
            <pc:sldMk cId="2102116195" sldId="262"/>
            <ac:cxnSpMk id="45" creationId="{22375AC6-EA2C-9EF7-78B5-24ACC8A9F1D7}"/>
          </ac:cxnSpMkLst>
        </pc:cxnChg>
        <pc:cxnChg chg="del topLvl">
          <ac:chgData name="N, Harikiran" userId="S::harikiran.n@iqvia.com::28d9c92f-b926-4640-a929-2dab1cc5d2ab" providerId="AD" clId="Web-{0DF00A63-45C5-BAF9-AEA3-5358394473AA}" dt="2025-02-04T16:10:08.526" v="480"/>
          <ac:cxnSpMkLst>
            <pc:docMk/>
            <pc:sldMk cId="2102116195" sldId="262"/>
            <ac:cxnSpMk id="46" creationId="{414927D6-C9EF-25B8-F3C6-B10EBF86D1C3}"/>
          </ac:cxnSpMkLst>
        </pc:cxnChg>
      </pc:sldChg>
      <pc:sldChg chg="modSp">
        <pc:chgData name="N, Harikiran" userId="S::harikiran.n@iqvia.com::28d9c92f-b926-4640-a929-2dab1cc5d2ab" providerId="AD" clId="Web-{0DF00A63-45C5-BAF9-AEA3-5358394473AA}" dt="2025-02-04T16:04:20.232" v="401" actId="1076"/>
        <pc:sldMkLst>
          <pc:docMk/>
          <pc:sldMk cId="1433392092" sldId="2147472854"/>
        </pc:sldMkLst>
        <pc:spChg chg="mod">
          <ac:chgData name="N, Harikiran" userId="S::harikiran.n@iqvia.com::28d9c92f-b926-4640-a929-2dab1cc5d2ab" providerId="AD" clId="Web-{0DF00A63-45C5-BAF9-AEA3-5358394473AA}" dt="2025-02-04T15:40:11.625" v="73" actId="20577"/>
          <ac:spMkLst>
            <pc:docMk/>
            <pc:sldMk cId="1433392092" sldId="2147472854"/>
            <ac:spMk id="10" creationId="{9FED7DB0-8E7F-56AC-4093-BE855E4580DF}"/>
          </ac:spMkLst>
        </pc:spChg>
        <pc:picChg chg="mod">
          <ac:chgData name="N, Harikiran" userId="S::harikiran.n@iqvia.com::28d9c92f-b926-4640-a929-2dab1cc5d2ab" providerId="AD" clId="Web-{0DF00A63-45C5-BAF9-AEA3-5358394473AA}" dt="2025-02-04T16:04:20.232" v="401" actId="1076"/>
          <ac:picMkLst>
            <pc:docMk/>
            <pc:sldMk cId="1433392092" sldId="2147472854"/>
            <ac:picMk id="6" creationId="{E98C08D3-5754-E40D-F8F0-7F081D65DD8B}"/>
          </ac:picMkLst>
        </pc:picChg>
      </pc:sldChg>
      <pc:sldChg chg="addSp modSp">
        <pc:chgData name="N, Harikiran" userId="S::harikiran.n@iqvia.com::28d9c92f-b926-4640-a929-2dab1cc5d2ab" providerId="AD" clId="Web-{0DF00A63-45C5-BAF9-AEA3-5358394473AA}" dt="2025-02-04T15:32:16.342" v="18" actId="14100"/>
        <pc:sldMkLst>
          <pc:docMk/>
          <pc:sldMk cId="3631028990" sldId="2147472858"/>
        </pc:sldMkLst>
        <pc:spChg chg="mod">
          <ac:chgData name="N, Harikiran" userId="S::harikiran.n@iqvia.com::28d9c92f-b926-4640-a929-2dab1cc5d2ab" providerId="AD" clId="Web-{0DF00A63-45C5-BAF9-AEA3-5358394473AA}" dt="2025-02-04T15:32:16.342" v="18" actId="14100"/>
          <ac:spMkLst>
            <pc:docMk/>
            <pc:sldMk cId="3631028990" sldId="2147472858"/>
            <ac:spMk id="8" creationId="{16FC4E8E-3F97-2D00-FD5F-6D4BA0445828}"/>
          </ac:spMkLst>
        </pc:spChg>
        <pc:picChg chg="add mod">
          <ac:chgData name="N, Harikiran" userId="S::harikiran.n@iqvia.com::28d9c92f-b926-4640-a929-2dab1cc5d2ab" providerId="AD" clId="Web-{0DF00A63-45C5-BAF9-AEA3-5358394473AA}" dt="2025-02-04T15:30:55.354" v="10" actId="1076"/>
          <ac:picMkLst>
            <pc:docMk/>
            <pc:sldMk cId="3631028990" sldId="2147472858"/>
            <ac:picMk id="2" creationId="{DD2CEFE7-A2D3-0BB1-5F6D-1F568F192FA3}"/>
          </ac:picMkLst>
        </pc:picChg>
      </pc:sldChg>
      <pc:sldChg chg="addSp delSp modSp add">
        <pc:chgData name="N, Harikiran" userId="S::harikiran.n@iqvia.com::28d9c92f-b926-4640-a929-2dab1cc5d2ab" providerId="AD" clId="Web-{0DF00A63-45C5-BAF9-AEA3-5358394473AA}" dt="2025-02-04T16:00:50.427" v="399" actId="20577"/>
        <pc:sldMkLst>
          <pc:docMk/>
          <pc:sldMk cId="3843711777" sldId="2147472859"/>
        </pc:sldMkLst>
        <pc:spChg chg="del mod">
          <ac:chgData name="N, Harikiran" userId="S::harikiran.n@iqvia.com::28d9c92f-b926-4640-a929-2dab1cc5d2ab" providerId="AD" clId="Web-{0DF00A63-45C5-BAF9-AEA3-5358394473AA}" dt="2025-02-04T15:49:47.131" v="176"/>
          <ac:spMkLst>
            <pc:docMk/>
            <pc:sldMk cId="3843711777" sldId="2147472859"/>
            <ac:spMk id="2" creationId="{C6A99F66-7014-03C8-BBBE-A327A436B087}"/>
          </ac:spMkLst>
        </pc:spChg>
        <pc:spChg chg="del">
          <ac:chgData name="N, Harikiran" userId="S::harikiran.n@iqvia.com::28d9c92f-b926-4640-a929-2dab1cc5d2ab" providerId="AD" clId="Web-{0DF00A63-45C5-BAF9-AEA3-5358394473AA}" dt="2025-02-04T15:49:57.131" v="178"/>
          <ac:spMkLst>
            <pc:docMk/>
            <pc:sldMk cId="3843711777" sldId="2147472859"/>
            <ac:spMk id="4" creationId="{BC45A155-EAA9-8C0B-0850-6ABBE7B4F9D9}"/>
          </ac:spMkLst>
        </pc:spChg>
        <pc:graphicFrameChg chg="mod modGraphic">
          <ac:chgData name="N, Harikiran" userId="S::harikiran.n@iqvia.com::28d9c92f-b926-4640-a929-2dab1cc5d2ab" providerId="AD" clId="Web-{0DF00A63-45C5-BAF9-AEA3-5358394473AA}" dt="2025-02-04T16:00:50.427" v="399" actId="20577"/>
          <ac:graphicFrameMkLst>
            <pc:docMk/>
            <pc:sldMk cId="3843711777" sldId="2147472859"/>
            <ac:graphicFrameMk id="11" creationId="{8C06876C-00CE-7F06-83D2-C1CECA2A7185}"/>
          </ac:graphicFrameMkLst>
        </pc:graphicFrameChg>
        <pc:graphicFrameChg chg="add del mod">
          <ac:chgData name="N, Harikiran" userId="S::harikiran.n@iqvia.com::28d9c92f-b926-4640-a929-2dab1cc5d2ab" providerId="AD" clId="Web-{0DF00A63-45C5-BAF9-AEA3-5358394473AA}" dt="2025-02-04T15:58:00.639" v="379"/>
          <ac:graphicFrameMkLst>
            <pc:docMk/>
            <pc:sldMk cId="3843711777" sldId="2147472859"/>
            <ac:graphicFrameMk id="4359" creationId="{E7367EC2-A761-59FB-3A38-C50DAD90354E}"/>
          </ac:graphicFrameMkLst>
        </pc:graphicFrameChg>
      </pc:sldChg>
    </pc:docChg>
  </pc:docChgLst>
  <pc:docChgLst>
    <pc:chgData name="N, Harikiran" userId="S::harikiran.n@iqvia.com::28d9c92f-b926-4640-a929-2dab1cc5d2ab" providerId="AD" clId="Web-{F393526D-1B7B-5F9D-8251-1648A8FCF8CE}"/>
    <pc:docChg chg="modSld">
      <pc:chgData name="N, Harikiran" userId="S::harikiran.n@iqvia.com::28d9c92f-b926-4640-a929-2dab1cc5d2ab" providerId="AD" clId="Web-{F393526D-1B7B-5F9D-8251-1648A8FCF8CE}" dt="2025-02-05T08:02:11.383" v="0" actId="20577"/>
      <pc:docMkLst>
        <pc:docMk/>
      </pc:docMkLst>
      <pc:sldChg chg="modSp">
        <pc:chgData name="N, Harikiran" userId="S::harikiran.n@iqvia.com::28d9c92f-b926-4640-a929-2dab1cc5d2ab" providerId="AD" clId="Web-{F393526D-1B7B-5F9D-8251-1648A8FCF8CE}" dt="2025-02-05T08:02:11.383" v="0" actId="20577"/>
        <pc:sldMkLst>
          <pc:docMk/>
          <pc:sldMk cId="2102116195" sldId="262"/>
        </pc:sldMkLst>
        <pc:spChg chg="mod">
          <ac:chgData name="N, Harikiran" userId="S::harikiran.n@iqvia.com::28d9c92f-b926-4640-a929-2dab1cc5d2ab" providerId="AD" clId="Web-{F393526D-1B7B-5F9D-8251-1648A8FCF8CE}" dt="2025-02-05T08:02:11.383" v="0" actId="20577"/>
          <ac:spMkLst>
            <pc:docMk/>
            <pc:sldMk cId="2102116195" sldId="262"/>
            <ac:spMk id="8" creationId="{52383FBA-D8BA-02C1-7904-FD1779DDE0F6}"/>
          </ac:spMkLst>
        </pc:spChg>
      </pc:sldChg>
    </pc:docChg>
  </pc:docChgLst>
  <pc:docChgLst>
    <pc:chgData name="N, Harikiran" userId="S::harikiran.n@iqvia.com::28d9c92f-b926-4640-a929-2dab1cc5d2ab" providerId="AD" clId="Web-{DBFFB614-6FBC-8623-2BB8-D87118A3E027}"/>
    <pc:docChg chg="modSld">
      <pc:chgData name="N, Harikiran" userId="S::harikiran.n@iqvia.com::28d9c92f-b926-4640-a929-2dab1cc5d2ab" providerId="AD" clId="Web-{DBFFB614-6FBC-8623-2BB8-D87118A3E027}" dt="2025-02-03T12:25:36.083" v="19" actId="1076"/>
      <pc:docMkLst>
        <pc:docMk/>
      </pc:docMkLst>
      <pc:sldChg chg="addSp delSp modSp">
        <pc:chgData name="N, Harikiran" userId="S::harikiran.n@iqvia.com::28d9c92f-b926-4640-a929-2dab1cc5d2ab" providerId="AD" clId="Web-{DBFFB614-6FBC-8623-2BB8-D87118A3E027}" dt="2025-02-03T12:25:36.083" v="19" actId="1076"/>
        <pc:sldMkLst>
          <pc:docMk/>
          <pc:sldMk cId="1433392092" sldId="2147472854"/>
        </pc:sldMkLst>
        <pc:spChg chg="mod">
          <ac:chgData name="N, Harikiran" userId="S::harikiran.n@iqvia.com::28d9c92f-b926-4640-a929-2dab1cc5d2ab" providerId="AD" clId="Web-{DBFFB614-6FBC-8623-2BB8-D87118A3E027}" dt="2025-02-03T12:25:25.098" v="15" actId="14100"/>
          <ac:spMkLst>
            <pc:docMk/>
            <pc:sldMk cId="1433392092" sldId="2147472854"/>
            <ac:spMk id="10" creationId="{9FED7DB0-8E7F-56AC-4093-BE855E4580DF}"/>
          </ac:spMkLst>
        </pc:spChg>
        <pc:picChg chg="add mod">
          <ac:chgData name="N, Harikiran" userId="S::harikiran.n@iqvia.com::28d9c92f-b926-4640-a929-2dab1cc5d2ab" providerId="AD" clId="Web-{DBFFB614-6FBC-8623-2BB8-D87118A3E027}" dt="2025-02-03T12:24:41.877" v="8" actId="1076"/>
          <ac:picMkLst>
            <pc:docMk/>
            <pc:sldMk cId="1433392092" sldId="2147472854"/>
            <ac:picMk id="3" creationId="{F0165A91-563B-424F-FC86-B636B05DC36A}"/>
          </ac:picMkLst>
        </pc:picChg>
        <pc:picChg chg="add mod ord">
          <ac:chgData name="N, Harikiran" userId="S::harikiran.n@iqvia.com::28d9c92f-b926-4640-a929-2dab1cc5d2ab" providerId="AD" clId="Web-{DBFFB614-6FBC-8623-2BB8-D87118A3E027}" dt="2025-02-03T12:25:36.083" v="19" actId="1076"/>
          <ac:picMkLst>
            <pc:docMk/>
            <pc:sldMk cId="1433392092" sldId="2147472854"/>
            <ac:picMk id="6" creationId="{E98C08D3-5754-E40D-F8F0-7F081D65DD8B}"/>
          </ac:picMkLst>
        </pc:picChg>
      </pc:sldChg>
    </pc:docChg>
  </pc:docChgLst>
  <pc:docChgLst>
    <pc:chgData name="N, Harikiran" userId="S::harikiran.n@iqvia.com::28d9c92f-b926-4640-a929-2dab1cc5d2ab" providerId="AD" clId="Web-{EA8C538A-A47D-C0EB-0878-71F37A82B341}"/>
    <pc:docChg chg="addSld delSld modSld">
      <pc:chgData name="N, Harikiran" userId="S::harikiran.n@iqvia.com::28d9c92f-b926-4640-a929-2dab1cc5d2ab" providerId="AD" clId="Web-{EA8C538A-A47D-C0EB-0878-71F37A82B341}" dt="2025-02-05T06:50:23.722" v="393" actId="20577"/>
      <pc:docMkLst>
        <pc:docMk/>
      </pc:docMkLst>
      <pc:sldChg chg="delSp modSp">
        <pc:chgData name="N, Harikiran" userId="S::harikiran.n@iqvia.com::28d9c92f-b926-4640-a929-2dab1cc5d2ab" providerId="AD" clId="Web-{EA8C538A-A47D-C0EB-0878-71F37A82B341}" dt="2025-02-05T05:49:06" v="368" actId="20577"/>
        <pc:sldMkLst>
          <pc:docMk/>
          <pc:sldMk cId="2102116195" sldId="262"/>
        </pc:sldMkLst>
        <pc:spChg chg="mod">
          <ac:chgData name="N, Harikiran" userId="S::harikiran.n@iqvia.com::28d9c92f-b926-4640-a929-2dab1cc5d2ab" providerId="AD" clId="Web-{EA8C538A-A47D-C0EB-0878-71F37A82B341}" dt="2025-02-05T05:47:06.530" v="325" actId="1076"/>
          <ac:spMkLst>
            <pc:docMk/>
            <pc:sldMk cId="2102116195" sldId="262"/>
            <ac:spMk id="7" creationId="{06CF0BE4-BD20-8F6B-6830-76CCBDE2880F}"/>
          </ac:spMkLst>
        </pc:spChg>
        <pc:spChg chg="mod">
          <ac:chgData name="N, Harikiran" userId="S::harikiran.n@iqvia.com::28d9c92f-b926-4640-a929-2dab1cc5d2ab" providerId="AD" clId="Web-{EA8C538A-A47D-C0EB-0878-71F37A82B341}" dt="2025-02-05T05:49:06" v="368" actId="20577"/>
          <ac:spMkLst>
            <pc:docMk/>
            <pc:sldMk cId="2102116195" sldId="262"/>
            <ac:spMk id="8" creationId="{52383FBA-D8BA-02C1-7904-FD1779DDE0F6}"/>
          </ac:spMkLst>
        </pc:spChg>
        <pc:spChg chg="del">
          <ac:chgData name="N, Harikiran" userId="S::harikiran.n@iqvia.com::28d9c92f-b926-4640-a929-2dab1cc5d2ab" providerId="AD" clId="Web-{EA8C538A-A47D-C0EB-0878-71F37A82B341}" dt="2025-02-05T05:43:17.308" v="129"/>
          <ac:spMkLst>
            <pc:docMk/>
            <pc:sldMk cId="2102116195" sldId="262"/>
            <ac:spMk id="30" creationId="{BAE458FB-FF59-5F99-A896-733F9F463E09}"/>
          </ac:spMkLst>
        </pc:spChg>
        <pc:spChg chg="del mod">
          <ac:chgData name="N, Harikiran" userId="S::harikiran.n@iqvia.com::28d9c92f-b926-4640-a929-2dab1cc5d2ab" providerId="AD" clId="Web-{EA8C538A-A47D-C0EB-0878-71F37A82B341}" dt="2025-02-05T05:47:25.452" v="328"/>
          <ac:spMkLst>
            <pc:docMk/>
            <pc:sldMk cId="2102116195" sldId="262"/>
            <ac:spMk id="32" creationId="{1B24A1D0-A614-5F78-9134-45CCF647F75D}"/>
          </ac:spMkLst>
        </pc:spChg>
      </pc:sldChg>
      <pc:sldChg chg="del">
        <pc:chgData name="N, Harikiran" userId="S::harikiran.n@iqvia.com::28d9c92f-b926-4640-a929-2dab1cc5d2ab" providerId="AD" clId="Web-{EA8C538A-A47D-C0EB-0878-71F37A82B341}" dt="2025-02-05T06:47:19.217" v="371"/>
        <pc:sldMkLst>
          <pc:docMk/>
          <pc:sldMk cId="3843711777" sldId="2147472859"/>
        </pc:sldMkLst>
      </pc:sldChg>
      <pc:sldChg chg="addSp modSp add replId">
        <pc:chgData name="N, Harikiran" userId="S::harikiran.n@iqvia.com::28d9c92f-b926-4640-a929-2dab1cc5d2ab" providerId="AD" clId="Web-{EA8C538A-A47D-C0EB-0878-71F37A82B341}" dt="2025-02-05T06:50:23.722" v="393" actId="20577"/>
        <pc:sldMkLst>
          <pc:docMk/>
          <pc:sldMk cId="2974713737" sldId="2147472860"/>
        </pc:sldMkLst>
        <pc:spChg chg="add mod">
          <ac:chgData name="N, Harikiran" userId="S::harikiran.n@iqvia.com::28d9c92f-b926-4640-a929-2dab1cc5d2ab" providerId="AD" clId="Web-{EA8C538A-A47D-C0EB-0878-71F37A82B341}" dt="2025-02-05T06:49:59.690" v="390" actId="20577"/>
          <ac:spMkLst>
            <pc:docMk/>
            <pc:sldMk cId="2974713737" sldId="2147472860"/>
            <ac:spMk id="61" creationId="{5CB846B0-E7E7-7748-5AFF-EA39F4CA3D7D}"/>
          </ac:spMkLst>
        </pc:spChg>
        <pc:graphicFrameChg chg="mod modGraphic">
          <ac:chgData name="N, Harikiran" userId="S::harikiran.n@iqvia.com::28d9c92f-b926-4640-a929-2dab1cc5d2ab" providerId="AD" clId="Web-{EA8C538A-A47D-C0EB-0878-71F37A82B341}" dt="2025-02-05T06:50:23.722" v="393" actId="20577"/>
          <ac:graphicFrameMkLst>
            <pc:docMk/>
            <pc:sldMk cId="2974713737" sldId="2147472860"/>
            <ac:graphicFrameMk id="11" creationId="{60F2DC18-5CE9-1F2E-1C0F-14364BB1F423}"/>
          </ac:graphicFrameMkLst>
        </pc:graphicFrameChg>
      </pc:sldChg>
    </pc:docChg>
  </pc:docChgLst>
  <pc:docChgLst>
    <pc:chgData name="PATAN, IRFAN KHAN" userId="S::ikhan2@in.imshealth.com::7186a6d6-1c02-46f6-ae4e-7d16ecc8b5b1" providerId="AD" clId="Web-{DE33E6CF-7E33-DBE8-797E-02B4811D4A43}"/>
    <pc:docChg chg="modSld">
      <pc:chgData name="PATAN, IRFAN KHAN" userId="S::ikhan2@in.imshealth.com::7186a6d6-1c02-46f6-ae4e-7d16ecc8b5b1" providerId="AD" clId="Web-{DE33E6CF-7E33-DBE8-797E-02B4811D4A43}" dt="2025-01-31T18:00:29.168" v="3"/>
      <pc:docMkLst>
        <pc:docMk/>
      </pc:docMkLst>
      <pc:sldChg chg="addSp delSp modSp">
        <pc:chgData name="PATAN, IRFAN KHAN" userId="S::ikhan2@in.imshealth.com::7186a6d6-1c02-46f6-ae4e-7d16ecc8b5b1" providerId="AD" clId="Web-{DE33E6CF-7E33-DBE8-797E-02B4811D4A43}" dt="2025-01-31T14:56:28.908" v="2" actId="1076"/>
        <pc:sldMkLst>
          <pc:docMk/>
          <pc:sldMk cId="2128451513" sldId="261"/>
        </pc:sldMkLst>
      </pc:sldChg>
      <pc:sldChg chg="addSp delSp modSp">
        <pc:chgData name="PATAN, IRFAN KHAN" userId="S::ikhan2@in.imshealth.com::7186a6d6-1c02-46f6-ae4e-7d16ecc8b5b1" providerId="AD" clId="Web-{DE33E6CF-7E33-DBE8-797E-02B4811D4A43}" dt="2025-01-31T18:00:29.168" v="3"/>
        <pc:sldMkLst>
          <pc:docMk/>
          <pc:sldMk cId="1433392092" sldId="2147472854"/>
        </pc:sldMkLst>
      </pc:sldChg>
    </pc:docChg>
  </pc:docChgLst>
  <pc:docChgLst>
    <pc:chgData name="PATAN, IRFAN KHAN" userId="S::ikhan2@in.imshealth.com::7186a6d6-1c02-46f6-ae4e-7d16ecc8b5b1" providerId="AD" clId="Web-{7EED2414-EC2D-D774-D2E5-48B6A5DB8EEE}"/>
    <pc:docChg chg="delSld modSld">
      <pc:chgData name="PATAN, IRFAN KHAN" userId="S::ikhan2@in.imshealth.com::7186a6d6-1c02-46f6-ae4e-7d16ecc8b5b1" providerId="AD" clId="Web-{7EED2414-EC2D-D774-D2E5-48B6A5DB8EEE}" dt="2025-02-05T13:12:35.242" v="155" actId="20577"/>
      <pc:docMkLst>
        <pc:docMk/>
      </pc:docMkLst>
      <pc:sldChg chg="modSp">
        <pc:chgData name="PATAN, IRFAN KHAN" userId="S::ikhan2@in.imshealth.com::7186a6d6-1c02-46f6-ae4e-7d16ecc8b5b1" providerId="AD" clId="Web-{7EED2414-EC2D-D774-D2E5-48B6A5DB8EEE}" dt="2025-02-05T13:12:26.477" v="153" actId="20577"/>
        <pc:sldMkLst>
          <pc:docMk/>
          <pc:sldMk cId="2706595542" sldId="257"/>
        </pc:sldMkLst>
        <pc:spChg chg="mod">
          <ac:chgData name="PATAN, IRFAN KHAN" userId="S::ikhan2@in.imshealth.com::7186a6d6-1c02-46f6-ae4e-7d16ecc8b5b1" providerId="AD" clId="Web-{7EED2414-EC2D-D774-D2E5-48B6A5DB8EEE}" dt="2025-02-05T13:12:26.477" v="153" actId="20577"/>
          <ac:spMkLst>
            <pc:docMk/>
            <pc:sldMk cId="2706595542" sldId="257"/>
            <ac:spMk id="2" creationId="{54972565-B463-4A0D-AE01-73E66F414133}"/>
          </ac:spMkLst>
        </pc:spChg>
      </pc:sldChg>
      <pc:sldChg chg="modSp">
        <pc:chgData name="PATAN, IRFAN KHAN" userId="S::ikhan2@in.imshealth.com::7186a6d6-1c02-46f6-ae4e-7d16ecc8b5b1" providerId="AD" clId="Web-{7EED2414-EC2D-D774-D2E5-48B6A5DB8EEE}" dt="2025-02-05T10:17:56.392" v="108" actId="20577"/>
        <pc:sldMkLst>
          <pc:docMk/>
          <pc:sldMk cId="2128451513" sldId="261"/>
        </pc:sldMkLst>
        <pc:spChg chg="mod">
          <ac:chgData name="PATAN, IRFAN KHAN" userId="S::ikhan2@in.imshealth.com::7186a6d6-1c02-46f6-ae4e-7d16ecc8b5b1" providerId="AD" clId="Web-{7EED2414-EC2D-D774-D2E5-48B6A5DB8EEE}" dt="2025-02-04T15:31:56.128" v="1" actId="688"/>
          <ac:spMkLst>
            <pc:docMk/>
            <pc:sldMk cId="2128451513" sldId="261"/>
            <ac:spMk id="4" creationId="{F625C0E1-5699-BF39-6140-A5C7934717FB}"/>
          </ac:spMkLst>
        </pc:spChg>
        <pc:spChg chg="mod">
          <ac:chgData name="PATAN, IRFAN KHAN" userId="S::ikhan2@in.imshealth.com::7186a6d6-1c02-46f6-ae4e-7d16ecc8b5b1" providerId="AD" clId="Web-{7EED2414-EC2D-D774-D2E5-48B6A5DB8EEE}" dt="2025-02-05T10:17:56.392" v="108" actId="20577"/>
          <ac:spMkLst>
            <pc:docMk/>
            <pc:sldMk cId="2128451513" sldId="261"/>
            <ac:spMk id="10" creationId="{9FED7DB0-8E7F-56AC-4093-BE855E4580DF}"/>
          </ac:spMkLst>
        </pc:spChg>
        <pc:picChg chg="mod">
          <ac:chgData name="PATAN, IRFAN KHAN" userId="S::ikhan2@in.imshealth.com::7186a6d6-1c02-46f6-ae4e-7d16ecc8b5b1" providerId="AD" clId="Web-{7EED2414-EC2D-D774-D2E5-48B6A5DB8EEE}" dt="2025-02-04T15:32:00.565" v="2" actId="1076"/>
          <ac:picMkLst>
            <pc:docMk/>
            <pc:sldMk cId="2128451513" sldId="261"/>
            <ac:picMk id="3" creationId="{0597DFA2-2BE8-5C7E-E797-B6A8475DECC3}"/>
          </ac:picMkLst>
        </pc:picChg>
      </pc:sldChg>
      <pc:sldChg chg="addSp modSp">
        <pc:chgData name="PATAN, IRFAN KHAN" userId="S::ikhan2@in.imshealth.com::7186a6d6-1c02-46f6-ae4e-7d16ecc8b5b1" providerId="AD" clId="Web-{7EED2414-EC2D-D774-D2E5-48B6A5DB8EEE}" dt="2025-02-05T13:12:35.242" v="155" actId="20577"/>
        <pc:sldMkLst>
          <pc:docMk/>
          <pc:sldMk cId="2102116195" sldId="262"/>
        </pc:sldMkLst>
        <pc:spChg chg="mod">
          <ac:chgData name="PATAN, IRFAN KHAN" userId="S::ikhan2@in.imshealth.com::7186a6d6-1c02-46f6-ae4e-7d16ecc8b5b1" providerId="AD" clId="Web-{7EED2414-EC2D-D774-D2E5-48B6A5DB8EEE}" dt="2025-02-05T13:12:35.242" v="155" actId="20577"/>
          <ac:spMkLst>
            <pc:docMk/>
            <pc:sldMk cId="2102116195" sldId="262"/>
            <ac:spMk id="7" creationId="{06CF0BE4-BD20-8F6B-6830-76CCBDE2880F}"/>
          </ac:spMkLst>
        </pc:spChg>
        <pc:spChg chg="mod">
          <ac:chgData name="PATAN, IRFAN KHAN" userId="S::ikhan2@in.imshealth.com::7186a6d6-1c02-46f6-ae4e-7d16ecc8b5b1" providerId="AD" clId="Web-{7EED2414-EC2D-D774-D2E5-48B6A5DB8EEE}" dt="2025-02-05T05:37:15.272" v="98" actId="20577"/>
          <ac:spMkLst>
            <pc:docMk/>
            <pc:sldMk cId="2102116195" sldId="262"/>
            <ac:spMk id="8" creationId="{52383FBA-D8BA-02C1-7904-FD1779DDE0F6}"/>
          </ac:spMkLst>
        </pc:spChg>
        <pc:picChg chg="add mod">
          <ac:chgData name="PATAN, IRFAN KHAN" userId="S::ikhan2@in.imshealth.com::7186a6d6-1c02-46f6-ae4e-7d16ecc8b5b1" providerId="AD" clId="Web-{7EED2414-EC2D-D774-D2E5-48B6A5DB8EEE}" dt="2025-02-05T10:16:28.936" v="103" actId="1076"/>
          <ac:picMkLst>
            <pc:docMk/>
            <pc:sldMk cId="2102116195" sldId="262"/>
            <ac:picMk id="2" creationId="{166AB863-4011-4BC4-2502-6C17302A29C3}"/>
          </ac:picMkLst>
        </pc:picChg>
      </pc:sldChg>
      <pc:sldChg chg="modSp">
        <pc:chgData name="PATAN, IRFAN KHAN" userId="S::ikhan2@in.imshealth.com::7186a6d6-1c02-46f6-ae4e-7d16ecc8b5b1" providerId="AD" clId="Web-{7EED2414-EC2D-D774-D2E5-48B6A5DB8EEE}" dt="2025-02-04T16:07:43.919" v="71"/>
        <pc:sldMkLst>
          <pc:docMk/>
          <pc:sldMk cId="502838803" sldId="2147472853"/>
        </pc:sldMkLst>
        <pc:graphicFrameChg chg="modGraphic">
          <ac:chgData name="PATAN, IRFAN KHAN" userId="S::ikhan2@in.imshealth.com::7186a6d6-1c02-46f6-ae4e-7d16ecc8b5b1" providerId="AD" clId="Web-{7EED2414-EC2D-D774-D2E5-48B6A5DB8EEE}" dt="2025-02-04T16:07:43.919" v="71"/>
          <ac:graphicFrameMkLst>
            <pc:docMk/>
            <pc:sldMk cId="502838803" sldId="2147472853"/>
            <ac:graphicFrameMk id="11" creationId="{8C06876C-00CE-7F06-83D2-C1CECA2A7185}"/>
          </ac:graphicFrameMkLst>
        </pc:graphicFrameChg>
      </pc:sldChg>
      <pc:sldChg chg="modSp">
        <pc:chgData name="PATAN, IRFAN KHAN" userId="S::ikhan2@in.imshealth.com::7186a6d6-1c02-46f6-ae4e-7d16ecc8b5b1" providerId="AD" clId="Web-{7EED2414-EC2D-D774-D2E5-48B6A5DB8EEE}" dt="2025-02-05T10:22:12.184" v="142" actId="20577"/>
        <pc:sldMkLst>
          <pc:docMk/>
          <pc:sldMk cId="1433392092" sldId="2147472854"/>
        </pc:sldMkLst>
        <pc:spChg chg="mod">
          <ac:chgData name="PATAN, IRFAN KHAN" userId="S::ikhan2@in.imshealth.com::7186a6d6-1c02-46f6-ae4e-7d16ecc8b5b1" providerId="AD" clId="Web-{7EED2414-EC2D-D774-D2E5-48B6A5DB8EEE}" dt="2025-02-05T10:22:12.184" v="142" actId="20577"/>
          <ac:spMkLst>
            <pc:docMk/>
            <pc:sldMk cId="1433392092" sldId="2147472854"/>
            <ac:spMk id="10" creationId="{9FED7DB0-8E7F-56AC-4093-BE855E4580DF}"/>
          </ac:spMkLst>
        </pc:spChg>
      </pc:sldChg>
      <pc:sldChg chg="del">
        <pc:chgData name="PATAN, IRFAN KHAN" userId="S::ikhan2@in.imshealth.com::7186a6d6-1c02-46f6-ae4e-7d16ecc8b5b1" providerId="AD" clId="Web-{7EED2414-EC2D-D774-D2E5-48B6A5DB8EEE}" dt="2025-02-05T10:12:18.973" v="99"/>
        <pc:sldMkLst>
          <pc:docMk/>
          <pc:sldMk cId="243970059" sldId="2147472857"/>
        </pc:sldMkLst>
      </pc:sldChg>
      <pc:sldChg chg="addSp delSp modSp">
        <pc:chgData name="PATAN, IRFAN KHAN" userId="S::ikhan2@in.imshealth.com::7186a6d6-1c02-46f6-ae4e-7d16ecc8b5b1" providerId="AD" clId="Web-{7EED2414-EC2D-D774-D2E5-48B6A5DB8EEE}" dt="2025-02-05T13:12:30.180" v="154" actId="20577"/>
        <pc:sldMkLst>
          <pc:docMk/>
          <pc:sldMk cId="3631028990" sldId="2147472858"/>
        </pc:sldMkLst>
        <pc:spChg chg="mod">
          <ac:chgData name="PATAN, IRFAN KHAN" userId="S::ikhan2@in.imshealth.com::7186a6d6-1c02-46f6-ae4e-7d16ecc8b5b1" providerId="AD" clId="Web-{7EED2414-EC2D-D774-D2E5-48B6A5DB8EEE}" dt="2025-02-05T13:12:30.180" v="154" actId="20577"/>
          <ac:spMkLst>
            <pc:docMk/>
            <pc:sldMk cId="3631028990" sldId="2147472858"/>
            <ac:spMk id="7" creationId="{844603E3-C824-6ECA-FE17-436488811B81}"/>
          </ac:spMkLst>
        </pc:spChg>
        <pc:spChg chg="mod">
          <ac:chgData name="PATAN, IRFAN KHAN" userId="S::ikhan2@in.imshealth.com::7186a6d6-1c02-46f6-ae4e-7d16ecc8b5b1" providerId="AD" clId="Web-{7EED2414-EC2D-D774-D2E5-48B6A5DB8EEE}" dt="2025-02-04T15:37:05.114" v="15" actId="1076"/>
          <ac:spMkLst>
            <pc:docMk/>
            <pc:sldMk cId="3631028990" sldId="2147472858"/>
            <ac:spMk id="8" creationId="{16FC4E8E-3F97-2D00-FD5F-6D4BA0445828}"/>
          </ac:spMkLst>
        </pc:spChg>
        <pc:picChg chg="del">
          <ac:chgData name="PATAN, IRFAN KHAN" userId="S::ikhan2@in.imshealth.com::7186a6d6-1c02-46f6-ae4e-7d16ecc8b5b1" providerId="AD" clId="Web-{7EED2414-EC2D-D774-D2E5-48B6A5DB8EEE}" dt="2025-02-05T10:17:19.860" v="104"/>
          <ac:picMkLst>
            <pc:docMk/>
            <pc:sldMk cId="3631028990" sldId="2147472858"/>
            <ac:picMk id="2" creationId="{DD2CEFE7-A2D3-0BB1-5F6D-1F568F192FA3}"/>
          </ac:picMkLst>
        </pc:picChg>
        <pc:picChg chg="add mod">
          <ac:chgData name="PATAN, IRFAN KHAN" userId="S::ikhan2@in.imshealth.com::7186a6d6-1c02-46f6-ae4e-7d16ecc8b5b1" providerId="AD" clId="Web-{7EED2414-EC2D-D774-D2E5-48B6A5DB8EEE}" dt="2025-02-05T10:17:23.094" v="106" actId="1076"/>
          <ac:picMkLst>
            <pc:docMk/>
            <pc:sldMk cId="3631028990" sldId="2147472858"/>
            <ac:picMk id="4" creationId="{DCFB39A1-4217-7BF8-E724-C3F6C0A14EED}"/>
          </ac:picMkLst>
        </pc:picChg>
      </pc:sldChg>
      <pc:sldChg chg="modSp">
        <pc:chgData name="PATAN, IRFAN KHAN" userId="S::ikhan2@in.imshealth.com::7186a6d6-1c02-46f6-ae4e-7d16ecc8b5b1" providerId="AD" clId="Web-{7EED2414-EC2D-D774-D2E5-48B6A5DB8EEE}" dt="2025-02-04T15:58:54.713" v="69" actId="20577"/>
        <pc:sldMkLst>
          <pc:docMk/>
          <pc:sldMk cId="3843711777" sldId="2147472859"/>
        </pc:sldMkLst>
        <pc:graphicFrameChg chg="modGraphic">
          <ac:chgData name="PATAN, IRFAN KHAN" userId="S::ikhan2@in.imshealth.com::7186a6d6-1c02-46f6-ae4e-7d16ecc8b5b1" providerId="AD" clId="Web-{7EED2414-EC2D-D774-D2E5-48B6A5DB8EEE}" dt="2025-02-04T15:58:54.713" v="69" actId="20577"/>
          <ac:graphicFrameMkLst>
            <pc:docMk/>
            <pc:sldMk cId="3843711777" sldId="2147472859"/>
            <ac:graphicFrameMk id="11" creationId="{8C06876C-00CE-7F06-83D2-C1CECA2A7185}"/>
          </ac:graphicFrameMkLst>
        </pc:graphicFrameChg>
      </pc:sldChg>
    </pc:docChg>
  </pc:docChgLst>
  <pc:docChgLst>
    <pc:chgData name="PATAN, IRFAN KHAN" userId="S::ikhan2@in.imshealth.com::7186a6d6-1c02-46f6-ae4e-7d16ecc8b5b1" providerId="AD" clId="Web-{B4FFC5A9-483E-276F-8F86-3F5D405182E6}"/>
    <pc:docChg chg="addSld modSld">
      <pc:chgData name="PATAN, IRFAN KHAN" userId="S::ikhan2@in.imshealth.com::7186a6d6-1c02-46f6-ae4e-7d16ecc8b5b1" providerId="AD" clId="Web-{B4FFC5A9-483E-276F-8F86-3F5D405182E6}" dt="2025-02-04T15:28:13.842" v="38" actId="20577"/>
      <pc:docMkLst>
        <pc:docMk/>
      </pc:docMkLst>
      <pc:sldChg chg="addSp modSp">
        <pc:chgData name="PATAN, IRFAN KHAN" userId="S::ikhan2@in.imshealth.com::7186a6d6-1c02-46f6-ae4e-7d16ecc8b5b1" providerId="AD" clId="Web-{B4FFC5A9-483E-276F-8F86-3F5D405182E6}" dt="2025-02-03T10:16:24.651" v="13" actId="688"/>
        <pc:sldMkLst>
          <pc:docMk/>
          <pc:sldMk cId="2128451513" sldId="261"/>
        </pc:sldMkLst>
        <pc:spChg chg="add mod">
          <ac:chgData name="PATAN, IRFAN KHAN" userId="S::ikhan2@in.imshealth.com::7186a6d6-1c02-46f6-ae4e-7d16ecc8b5b1" providerId="AD" clId="Web-{B4FFC5A9-483E-276F-8F86-3F5D405182E6}" dt="2025-02-03T10:16:24.651" v="13" actId="688"/>
          <ac:spMkLst>
            <pc:docMk/>
            <pc:sldMk cId="2128451513" sldId="261"/>
            <ac:spMk id="4" creationId="{F625C0E1-5699-BF39-6140-A5C7934717FB}"/>
          </ac:spMkLst>
        </pc:spChg>
        <pc:picChg chg="add mod">
          <ac:chgData name="PATAN, IRFAN KHAN" userId="S::ikhan2@in.imshealth.com::7186a6d6-1c02-46f6-ae4e-7d16ecc8b5b1" providerId="AD" clId="Web-{B4FFC5A9-483E-276F-8F86-3F5D405182E6}" dt="2025-02-03T10:15:12.369" v="8" actId="1076"/>
          <ac:picMkLst>
            <pc:docMk/>
            <pc:sldMk cId="2128451513" sldId="261"/>
            <ac:picMk id="3" creationId="{0597DFA2-2BE8-5C7E-E797-B6A8475DECC3}"/>
          </ac:picMkLst>
        </pc:picChg>
      </pc:sldChg>
      <pc:sldChg chg="modSp">
        <pc:chgData name="PATAN, IRFAN KHAN" userId="S::ikhan2@in.imshealth.com::7186a6d6-1c02-46f6-ae4e-7d16ecc8b5b1" providerId="AD" clId="Web-{B4FFC5A9-483E-276F-8F86-3F5D405182E6}" dt="2025-02-04T15:27:30.715" v="25" actId="20577"/>
        <pc:sldMkLst>
          <pc:docMk/>
          <pc:sldMk cId="2102116195" sldId="262"/>
        </pc:sldMkLst>
        <pc:spChg chg="mod">
          <ac:chgData name="PATAN, IRFAN KHAN" userId="S::ikhan2@in.imshealth.com::7186a6d6-1c02-46f6-ae4e-7d16ecc8b5b1" providerId="AD" clId="Web-{B4FFC5A9-483E-276F-8F86-3F5D405182E6}" dt="2025-02-04T15:27:30.715" v="25" actId="20577"/>
          <ac:spMkLst>
            <pc:docMk/>
            <pc:sldMk cId="2102116195" sldId="262"/>
            <ac:spMk id="8" creationId="{52383FBA-D8BA-02C1-7904-FD1779DDE0F6}"/>
          </ac:spMkLst>
        </pc:spChg>
      </pc:sldChg>
      <pc:sldChg chg="modSp add replId">
        <pc:chgData name="PATAN, IRFAN KHAN" userId="S::ikhan2@in.imshealth.com::7186a6d6-1c02-46f6-ae4e-7d16ecc8b5b1" providerId="AD" clId="Web-{B4FFC5A9-483E-276F-8F86-3F5D405182E6}" dt="2025-02-04T15:28:13.842" v="38" actId="20577"/>
        <pc:sldMkLst>
          <pc:docMk/>
          <pc:sldMk cId="3631028990" sldId="2147472858"/>
        </pc:sldMkLst>
        <pc:spChg chg="mod">
          <ac:chgData name="PATAN, IRFAN KHAN" userId="S::ikhan2@in.imshealth.com::7186a6d6-1c02-46f6-ae4e-7d16ecc8b5b1" providerId="AD" clId="Web-{B4FFC5A9-483E-276F-8F86-3F5D405182E6}" dt="2025-02-04T15:28:13.842" v="38" actId="20577"/>
          <ac:spMkLst>
            <pc:docMk/>
            <pc:sldMk cId="3631028990" sldId="2147472858"/>
            <ac:spMk id="8" creationId="{16FC4E8E-3F97-2D00-FD5F-6D4BA0445828}"/>
          </ac:spMkLst>
        </pc:spChg>
      </pc:sldChg>
    </pc:docChg>
  </pc:docChgLst>
  <pc:docChgLst>
    <pc:chgData name="N, Harikiran" userId="S::harikiran.n@iqvia.com::28d9c92f-b926-4640-a929-2dab1cc5d2ab" providerId="AD" clId="Web-{61013073-C209-1D3B-EFC7-85BB6B7D57B8}"/>
    <pc:docChg chg="modSld">
      <pc:chgData name="N, Harikiran" userId="S::harikiran.n@iqvia.com::28d9c92f-b926-4640-a929-2dab1cc5d2ab" providerId="AD" clId="Web-{61013073-C209-1D3B-EFC7-85BB6B7D57B8}" dt="2025-02-05T11:21:07.857" v="23" actId="20577"/>
      <pc:docMkLst>
        <pc:docMk/>
      </pc:docMkLst>
      <pc:sldChg chg="modSp">
        <pc:chgData name="N, Harikiran" userId="S::harikiran.n@iqvia.com::28d9c92f-b926-4640-a929-2dab1cc5d2ab" providerId="AD" clId="Web-{61013073-C209-1D3B-EFC7-85BB6B7D57B8}" dt="2025-02-05T11:21:07.857" v="23" actId="20577"/>
        <pc:sldMkLst>
          <pc:docMk/>
          <pc:sldMk cId="2102116195" sldId="262"/>
        </pc:sldMkLst>
        <pc:spChg chg="mod">
          <ac:chgData name="N, Harikiran" userId="S::harikiran.n@iqvia.com::28d9c92f-b926-4640-a929-2dab1cc5d2ab" providerId="AD" clId="Web-{61013073-C209-1D3B-EFC7-85BB6B7D57B8}" dt="2025-02-05T11:21:07.857" v="23" actId="20577"/>
          <ac:spMkLst>
            <pc:docMk/>
            <pc:sldMk cId="2102116195" sldId="262"/>
            <ac:spMk id="8" creationId="{52383FBA-D8BA-02C1-7904-FD1779DDE0F6}"/>
          </ac:spMkLst>
        </pc:spChg>
      </pc:sldChg>
      <pc:sldChg chg="modSp">
        <pc:chgData name="N, Harikiran" userId="S::harikiran.n@iqvia.com::28d9c92f-b926-4640-a929-2dab1cc5d2ab" providerId="AD" clId="Web-{61013073-C209-1D3B-EFC7-85BB6B7D57B8}" dt="2025-02-05T11:09:07.893" v="11" actId="20577"/>
        <pc:sldMkLst>
          <pc:docMk/>
          <pc:sldMk cId="1433392092" sldId="2147472854"/>
        </pc:sldMkLst>
        <pc:spChg chg="mod">
          <ac:chgData name="N, Harikiran" userId="S::harikiran.n@iqvia.com::28d9c92f-b926-4640-a929-2dab1cc5d2ab" providerId="AD" clId="Web-{61013073-C209-1D3B-EFC7-85BB6B7D57B8}" dt="2025-02-05T11:09:07.893" v="11" actId="20577"/>
          <ac:spMkLst>
            <pc:docMk/>
            <pc:sldMk cId="1433392092" sldId="2147472854"/>
            <ac:spMk id="10" creationId="{9FED7DB0-8E7F-56AC-4093-BE855E4580DF}"/>
          </ac:spMkLst>
        </pc:spChg>
      </pc:sldChg>
    </pc:docChg>
  </pc:docChgLst>
  <pc:docChgLst>
    <pc:chgData name="N, Harikiran" userId="S::harikiran.n@iqvia.com::28d9c92f-b926-4640-a929-2dab1cc5d2ab" providerId="AD" clId="Web-{A03EA1B3-E011-35F6-E9A0-736D55065E34}"/>
    <pc:docChg chg="addSld modSld sldOrd">
      <pc:chgData name="N, Harikiran" userId="S::harikiran.n@iqvia.com::28d9c92f-b926-4640-a929-2dab1cc5d2ab" providerId="AD" clId="Web-{A03EA1B3-E011-35F6-E9A0-736D55065E34}" dt="2025-02-04T14:57:12.346" v="8" actId="1076"/>
      <pc:docMkLst>
        <pc:docMk/>
      </pc:docMkLst>
      <pc:sldChg chg="modSp add ord">
        <pc:chgData name="N, Harikiran" userId="S::harikiran.n@iqvia.com::28d9c92f-b926-4640-a929-2dab1cc5d2ab" providerId="AD" clId="Web-{A03EA1B3-E011-35F6-E9A0-736D55065E34}" dt="2025-02-04T14:57:12.346" v="8" actId="1076"/>
        <pc:sldMkLst>
          <pc:docMk/>
          <pc:sldMk cId="243970059" sldId="2147472857"/>
        </pc:sldMkLst>
        <pc:spChg chg="mod">
          <ac:chgData name="N, Harikiran" userId="S::harikiran.n@iqvia.com::28d9c92f-b926-4640-a929-2dab1cc5d2ab" providerId="AD" clId="Web-{A03EA1B3-E011-35F6-E9A0-736D55065E34}" dt="2025-02-04T14:57:05.814" v="7" actId="20577"/>
          <ac:spMkLst>
            <pc:docMk/>
            <pc:sldMk cId="243970059" sldId="2147472857"/>
            <ac:spMk id="2" creationId="{2C264627-0335-4B74-B48E-A4FC2BC12375}"/>
          </ac:spMkLst>
        </pc:spChg>
        <pc:spChg chg="mod">
          <ac:chgData name="N, Harikiran" userId="S::harikiran.n@iqvia.com::28d9c92f-b926-4640-a929-2dab1cc5d2ab" providerId="AD" clId="Web-{A03EA1B3-E011-35F6-E9A0-736D55065E34}" dt="2025-02-04T14:57:04.471" v="5" actId="1076"/>
          <ac:spMkLst>
            <pc:docMk/>
            <pc:sldMk cId="243970059" sldId="2147472857"/>
            <ac:spMk id="24" creationId="{377EAA51-04DE-4E00-9A11-985ED06C27E1}"/>
          </ac:spMkLst>
        </pc:spChg>
        <pc:spChg chg="mod">
          <ac:chgData name="N, Harikiran" userId="S::harikiran.n@iqvia.com::28d9c92f-b926-4640-a929-2dab1cc5d2ab" providerId="AD" clId="Web-{A03EA1B3-E011-35F6-E9A0-736D55065E34}" dt="2025-02-04T14:57:12.346" v="8" actId="1076"/>
          <ac:spMkLst>
            <pc:docMk/>
            <pc:sldMk cId="243970059" sldId="2147472857"/>
            <ac:spMk id="30" creationId="{CC917A82-0596-407E-9DC8-002D81668036}"/>
          </ac:spMkLst>
        </pc:spChg>
      </pc:sldChg>
    </pc:docChg>
  </pc:docChgLst>
  <pc:docChgLst>
    <pc:chgData name="N, Harikiran" userId="S::harikiran.n@iqvia.com::28d9c92f-b926-4640-a929-2dab1cc5d2ab" providerId="AD" clId="Web-{B0DFF06E-BB0F-54C9-03F1-9A2117C1DB93}"/>
    <pc:docChg chg="modSld sldOrd">
      <pc:chgData name="N, Harikiran" userId="S::harikiran.n@iqvia.com::28d9c92f-b926-4640-a929-2dab1cc5d2ab" providerId="AD" clId="Web-{B0DFF06E-BB0F-54C9-03F1-9A2117C1DB93}" dt="2025-02-03T11:50:24.050" v="24"/>
      <pc:docMkLst>
        <pc:docMk/>
      </pc:docMkLst>
      <pc:sldChg chg="ord">
        <pc:chgData name="N, Harikiran" userId="S::harikiran.n@iqvia.com::28d9c92f-b926-4640-a929-2dab1cc5d2ab" providerId="AD" clId="Web-{B0DFF06E-BB0F-54C9-03F1-9A2117C1DB93}" dt="2025-02-03T11:50:24.050" v="24"/>
        <pc:sldMkLst>
          <pc:docMk/>
          <pc:sldMk cId="2102116195" sldId="262"/>
        </pc:sldMkLst>
      </pc:sldChg>
      <pc:sldChg chg="modSp">
        <pc:chgData name="N, Harikiran" userId="S::harikiran.n@iqvia.com::28d9c92f-b926-4640-a929-2dab1cc5d2ab" providerId="AD" clId="Web-{B0DFF06E-BB0F-54C9-03F1-9A2117C1DB93}" dt="2025-02-03T10:10:11.556" v="22" actId="1076"/>
        <pc:sldMkLst>
          <pc:docMk/>
          <pc:sldMk cId="4255172415" sldId="5447"/>
        </pc:sldMkLst>
        <pc:spChg chg="mod">
          <ac:chgData name="N, Harikiran" userId="S::harikiran.n@iqvia.com::28d9c92f-b926-4640-a929-2dab1cc5d2ab" providerId="AD" clId="Web-{B0DFF06E-BB0F-54C9-03F1-9A2117C1DB93}" dt="2025-02-03T10:10:11.556" v="22" actId="1076"/>
          <ac:spMkLst>
            <pc:docMk/>
            <pc:sldMk cId="4255172415" sldId="5447"/>
            <ac:spMk id="19" creationId="{ED28F28B-FDFB-B007-F443-AC34AB9F6700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https://app.smartsheet.com/b/form/9537ceb2a72342fd865048c01f9d3691?elqTrackId=395dceb19ea54ae3af99154ad33425d2&amp;elqaid=1251&amp;elqat=2&amp;elqak=8AF5F489EF834B8518B081F300A3961BD368B8C8828DA6D1F07B96645A33F9BAFF00" TargetMode="External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https://app.smartsheet.com/b/form/9537ceb2a72342fd865048c01f9d3691?elqTrackId=395dceb19ea54ae3af99154ad33425d2&amp;elqaid=1251&amp;elqat=2&amp;elqak=8AF5F489EF834B8518B081F300A3961BD368B8C8828DA6D1F07B96645A33F9BAFF00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4B3927-1474-4B82-9AAB-68B027CFA7E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0667492-3B9A-4808-9B44-2644A4B991D2}">
      <dgm:prSet/>
      <dgm:spPr/>
      <dgm:t>
        <a:bodyPr/>
        <a:lstStyle/>
        <a:p>
          <a:r>
            <a:rPr lang="en-US"/>
            <a:t>Solution Page Request </a:t>
          </a:r>
        </a:p>
      </dgm:t>
    </dgm:pt>
    <dgm:pt modelId="{5265150F-48F8-497A-B496-AC892D819826}" type="parTrans" cxnId="{B0C6AE94-7D9E-43E0-B905-93F5AC804BED}">
      <dgm:prSet/>
      <dgm:spPr/>
      <dgm:t>
        <a:bodyPr/>
        <a:lstStyle/>
        <a:p>
          <a:endParaRPr lang="en-US"/>
        </a:p>
      </dgm:t>
    </dgm:pt>
    <dgm:pt modelId="{73119D4B-37C8-4387-BBE7-8993EE775051}" type="sibTrans" cxnId="{B0C6AE94-7D9E-43E0-B905-93F5AC804BED}">
      <dgm:prSet/>
      <dgm:spPr/>
      <dgm:t>
        <a:bodyPr/>
        <a:lstStyle/>
        <a:p>
          <a:endParaRPr lang="en-US"/>
        </a:p>
      </dgm:t>
    </dgm:pt>
    <dgm:pt modelId="{1EBC4143-2147-45DB-9DB5-E6219EFB3EB8}">
      <dgm:prSet/>
      <dgm:spPr/>
      <dgm:t>
        <a:bodyPr/>
        <a:lstStyle/>
        <a:p>
          <a:r>
            <a:rPr lang="en-US"/>
            <a:t>Review Stage</a:t>
          </a:r>
        </a:p>
      </dgm:t>
    </dgm:pt>
    <dgm:pt modelId="{47C16E5D-1C1A-42A3-A5C9-CE7B2C3429DF}" type="parTrans" cxnId="{4C2B7414-06FA-44B4-B0DC-7E3AB48CA4C8}">
      <dgm:prSet/>
      <dgm:spPr/>
      <dgm:t>
        <a:bodyPr/>
        <a:lstStyle/>
        <a:p>
          <a:endParaRPr lang="en-US"/>
        </a:p>
      </dgm:t>
    </dgm:pt>
    <dgm:pt modelId="{EA9BBCE5-D013-431A-A5B2-6EF5546ACACA}" type="sibTrans" cxnId="{4C2B7414-06FA-44B4-B0DC-7E3AB48CA4C8}">
      <dgm:prSet/>
      <dgm:spPr/>
      <dgm:t>
        <a:bodyPr/>
        <a:lstStyle/>
        <a:p>
          <a:endParaRPr lang="en-US"/>
        </a:p>
      </dgm:t>
    </dgm:pt>
    <dgm:pt modelId="{717C2B56-7DFE-4B52-92FA-C10BEB80EBE3}">
      <dgm:prSet/>
      <dgm:spPr/>
      <dgm:t>
        <a:bodyPr/>
        <a:lstStyle/>
        <a:p>
          <a:r>
            <a:rPr lang="en-IN"/>
            <a:t>Page Setup Initiated</a:t>
          </a:r>
          <a:endParaRPr lang="en-US"/>
        </a:p>
      </dgm:t>
    </dgm:pt>
    <dgm:pt modelId="{F0FF87EE-D624-4E2B-8665-0FC9F4507B28}" type="parTrans" cxnId="{75E8D313-BE93-45AC-97FE-E9C9E76B1EC7}">
      <dgm:prSet/>
      <dgm:spPr/>
      <dgm:t>
        <a:bodyPr/>
        <a:lstStyle/>
        <a:p>
          <a:endParaRPr lang="en-US"/>
        </a:p>
      </dgm:t>
    </dgm:pt>
    <dgm:pt modelId="{F6FC3553-A7F0-4146-B141-5DB85437E42D}" type="sibTrans" cxnId="{75E8D313-BE93-45AC-97FE-E9C9E76B1EC7}">
      <dgm:prSet/>
      <dgm:spPr/>
      <dgm:t>
        <a:bodyPr/>
        <a:lstStyle/>
        <a:p>
          <a:endParaRPr lang="en-US"/>
        </a:p>
      </dgm:t>
    </dgm:pt>
    <dgm:pt modelId="{0816A90F-4DA1-4BDF-B9C2-3F4AEF8C6882}">
      <dgm:prSet/>
      <dgm:spPr/>
      <dgm:t>
        <a:bodyPr/>
        <a:lstStyle/>
        <a:p>
          <a:r>
            <a:rPr lang="en-US"/>
            <a:t>Review with Marketer</a:t>
          </a:r>
        </a:p>
      </dgm:t>
    </dgm:pt>
    <dgm:pt modelId="{E31070BC-FFB2-4F0A-8E4F-E0A4E2A1CDBE}" type="parTrans" cxnId="{F7D064B2-0DF8-4B2C-AB8B-C60A48822AB2}">
      <dgm:prSet/>
      <dgm:spPr/>
      <dgm:t>
        <a:bodyPr/>
        <a:lstStyle/>
        <a:p>
          <a:endParaRPr lang="en-US"/>
        </a:p>
      </dgm:t>
    </dgm:pt>
    <dgm:pt modelId="{8B74998E-DA8B-46AC-8C76-F3CD0462DE74}" type="sibTrans" cxnId="{F7D064B2-0DF8-4B2C-AB8B-C60A48822AB2}">
      <dgm:prSet/>
      <dgm:spPr/>
      <dgm:t>
        <a:bodyPr/>
        <a:lstStyle/>
        <a:p>
          <a:endParaRPr lang="en-US"/>
        </a:p>
      </dgm:t>
    </dgm:pt>
    <dgm:pt modelId="{5D96EA32-605F-4EF3-BE3D-24A98E0821C6}">
      <dgm:prSet/>
      <dgm:spPr/>
      <dgm:t>
        <a:bodyPr/>
        <a:lstStyle/>
        <a:p>
          <a:r>
            <a:rPr lang="en-US"/>
            <a:t>Publish to live</a:t>
          </a:r>
        </a:p>
      </dgm:t>
    </dgm:pt>
    <dgm:pt modelId="{9656FE4A-E6A5-423A-83FA-EE546846DCAE}" type="parTrans" cxnId="{19AE2E76-06FF-4014-914B-3EA81C25AEAC}">
      <dgm:prSet/>
      <dgm:spPr/>
      <dgm:t>
        <a:bodyPr/>
        <a:lstStyle/>
        <a:p>
          <a:endParaRPr lang="en-US"/>
        </a:p>
      </dgm:t>
    </dgm:pt>
    <dgm:pt modelId="{AC07225F-351F-43CA-BB7A-C762C378271B}" type="sibTrans" cxnId="{19AE2E76-06FF-4014-914B-3EA81C25AEAC}">
      <dgm:prSet/>
      <dgm:spPr/>
      <dgm:t>
        <a:bodyPr/>
        <a:lstStyle/>
        <a:p>
          <a:endParaRPr lang="en-US"/>
        </a:p>
      </dgm:t>
    </dgm:pt>
    <dgm:pt modelId="{68798AF0-C790-4CA7-AF06-FCF60241D7E5}">
      <dgm:prSet/>
      <dgm:spPr/>
      <dgm:t>
        <a:bodyPr/>
        <a:lstStyle/>
        <a:p>
          <a:r>
            <a:rPr lang="en-IN"/>
            <a:t>Start building page based on information provided by marketer.</a:t>
          </a:r>
          <a:endParaRPr lang="en-US"/>
        </a:p>
      </dgm:t>
    </dgm:pt>
    <dgm:pt modelId="{E76EE84E-919A-49BE-BE09-1BB13B7B1193}" type="parTrans" cxnId="{64B52F4D-3CFC-4DFA-9D81-F21377C12EBD}">
      <dgm:prSet/>
      <dgm:spPr/>
      <dgm:t>
        <a:bodyPr/>
        <a:lstStyle/>
        <a:p>
          <a:endParaRPr lang="en-US"/>
        </a:p>
      </dgm:t>
    </dgm:pt>
    <dgm:pt modelId="{7290CEFA-AEA1-469D-9A6A-CE8B9D06544D}" type="sibTrans" cxnId="{64B52F4D-3CFC-4DFA-9D81-F21377C12EBD}">
      <dgm:prSet/>
      <dgm:spPr/>
      <dgm:t>
        <a:bodyPr/>
        <a:lstStyle/>
        <a:p>
          <a:endParaRPr lang="en-US"/>
        </a:p>
      </dgm:t>
    </dgm:pt>
    <dgm:pt modelId="{77506DF5-0DF4-4C95-89B5-D47FA0707181}">
      <dgm:prSet/>
      <dgm:spPr/>
      <dgm:t>
        <a:bodyPr/>
        <a:lstStyle/>
        <a:p>
          <a:r>
            <a:rPr lang="en-IN"/>
            <a:t>Preview links will be shared to get feedback/approval</a:t>
          </a:r>
          <a:endParaRPr lang="en-US"/>
        </a:p>
      </dgm:t>
    </dgm:pt>
    <dgm:pt modelId="{7970C798-6796-490B-9F93-A92BD9293314}" type="parTrans" cxnId="{EF71275D-D071-4810-B670-9CC7D76A0B03}">
      <dgm:prSet/>
      <dgm:spPr/>
      <dgm:t>
        <a:bodyPr/>
        <a:lstStyle/>
        <a:p>
          <a:endParaRPr lang="en-US"/>
        </a:p>
      </dgm:t>
    </dgm:pt>
    <dgm:pt modelId="{765CB216-B9D8-4940-9F15-24CF5B64812B}" type="sibTrans" cxnId="{EF71275D-D071-4810-B670-9CC7D76A0B03}">
      <dgm:prSet/>
      <dgm:spPr/>
      <dgm:t>
        <a:bodyPr/>
        <a:lstStyle/>
        <a:p>
          <a:endParaRPr lang="en-US"/>
        </a:p>
      </dgm:t>
    </dgm:pt>
    <dgm:pt modelId="{7FC1DA03-5294-4832-BEF2-5D639AFEBD01}">
      <dgm:prSet/>
      <dgm:spPr/>
      <dgm:t>
        <a:bodyPr/>
        <a:lstStyle/>
        <a:p>
          <a:r>
            <a:rPr lang="en-IN"/>
            <a:t>Update the page based on feedback</a:t>
          </a:r>
          <a:endParaRPr lang="en-US"/>
        </a:p>
      </dgm:t>
    </dgm:pt>
    <dgm:pt modelId="{FDA8C3EE-FB87-469D-A9D8-36F47886CBE3}" type="parTrans" cxnId="{513A9A1C-43A2-4BD8-B16B-0F6561C84AA1}">
      <dgm:prSet/>
      <dgm:spPr/>
      <dgm:t>
        <a:bodyPr/>
        <a:lstStyle/>
        <a:p>
          <a:endParaRPr lang="en-US"/>
        </a:p>
      </dgm:t>
    </dgm:pt>
    <dgm:pt modelId="{B4175688-249A-481C-86FE-4B6A8897E1E5}" type="sibTrans" cxnId="{513A9A1C-43A2-4BD8-B16B-0F6561C84AA1}">
      <dgm:prSet/>
      <dgm:spPr/>
      <dgm:t>
        <a:bodyPr/>
        <a:lstStyle/>
        <a:p>
          <a:endParaRPr lang="en-US"/>
        </a:p>
      </dgm:t>
    </dgm:pt>
    <dgm:pt modelId="{6A3A05CB-2385-4B4D-87F1-F3C164446FDA}">
      <dgm:prSet/>
      <dgm:spPr/>
      <dgm:t>
        <a:bodyPr/>
        <a:lstStyle/>
        <a:p>
          <a:r>
            <a:rPr lang="en-US"/>
            <a:t>Once we get the final approval will take the page to live environment.</a:t>
          </a:r>
        </a:p>
      </dgm:t>
    </dgm:pt>
    <dgm:pt modelId="{1996FF85-803C-4C6C-98AA-936862293702}" type="parTrans" cxnId="{C76B6C69-3F13-48C4-8216-09938B808590}">
      <dgm:prSet/>
      <dgm:spPr/>
      <dgm:t>
        <a:bodyPr/>
        <a:lstStyle/>
        <a:p>
          <a:endParaRPr lang="en-US"/>
        </a:p>
      </dgm:t>
    </dgm:pt>
    <dgm:pt modelId="{91A9C0F1-455B-4199-ABD9-4042CF274363}" type="sibTrans" cxnId="{C76B6C69-3F13-48C4-8216-09938B808590}">
      <dgm:prSet/>
      <dgm:spPr/>
      <dgm:t>
        <a:bodyPr/>
        <a:lstStyle/>
        <a:p>
          <a:endParaRPr lang="en-US"/>
        </a:p>
      </dgm:t>
    </dgm:pt>
    <dgm:pt modelId="{1CE25759-BD8E-4BD6-BB56-4CE95E0C7379}">
      <dgm:prSet/>
      <dgm:spPr/>
      <dgm:t>
        <a:bodyPr/>
        <a:lstStyle/>
        <a:p>
          <a:r>
            <a:rPr lang="en-IN"/>
            <a:t>Request initiated by Marketer through </a:t>
          </a:r>
          <a:r>
            <a:rPr lang="en-IN">
              <a:hlinkClick xmlns:r="http://schemas.openxmlformats.org/officeDocument/2006/relationships" r:id="rId1"/>
            </a:rPr>
            <a:t>request form</a:t>
          </a:r>
          <a:endParaRPr lang="en-US"/>
        </a:p>
      </dgm:t>
    </dgm:pt>
    <dgm:pt modelId="{33750910-E20E-4A12-A915-99BDFEA81D59}" type="parTrans" cxnId="{E0A4F26E-1CA7-4A11-B804-FEC67B1140DD}">
      <dgm:prSet/>
      <dgm:spPr/>
      <dgm:t>
        <a:bodyPr/>
        <a:lstStyle/>
        <a:p>
          <a:endParaRPr lang="en-US"/>
        </a:p>
      </dgm:t>
    </dgm:pt>
    <dgm:pt modelId="{91A0245E-65BE-44B1-99FA-51968EAD698C}" type="sibTrans" cxnId="{E0A4F26E-1CA7-4A11-B804-FEC67B1140DD}">
      <dgm:prSet/>
      <dgm:spPr/>
      <dgm:t>
        <a:bodyPr/>
        <a:lstStyle/>
        <a:p>
          <a:endParaRPr lang="en-US"/>
        </a:p>
      </dgm:t>
    </dgm:pt>
    <dgm:pt modelId="{1ED63E52-B893-EC49-9E62-9FA6A7AA5240}">
      <dgm:prSet/>
      <dgm:spPr/>
      <dgm:t>
        <a:bodyPr/>
        <a:lstStyle/>
        <a:p>
          <a:r>
            <a:rPr lang="en-US"/>
            <a:t>Team review the ticket and ensure all information are in place.</a:t>
          </a:r>
        </a:p>
      </dgm:t>
    </dgm:pt>
    <dgm:pt modelId="{141ACBE8-4403-8A47-BFF7-3F32AFEEEC8D}" type="parTrans" cxnId="{3011C0A7-0A8B-2E46-A56C-816ED6D02C48}">
      <dgm:prSet/>
      <dgm:spPr/>
      <dgm:t>
        <a:bodyPr/>
        <a:lstStyle/>
        <a:p>
          <a:endParaRPr lang="en-GB"/>
        </a:p>
      </dgm:t>
    </dgm:pt>
    <dgm:pt modelId="{D1C8C945-059C-FB4D-9D16-CE2A79FB3353}" type="sibTrans" cxnId="{3011C0A7-0A8B-2E46-A56C-816ED6D02C48}">
      <dgm:prSet/>
      <dgm:spPr/>
      <dgm:t>
        <a:bodyPr/>
        <a:lstStyle/>
        <a:p>
          <a:endParaRPr lang="en-GB"/>
        </a:p>
      </dgm:t>
    </dgm:pt>
    <dgm:pt modelId="{2B87F1B8-6BC5-E54F-B4D0-ABAA5F33F74B}">
      <dgm:prSet/>
      <dgm:spPr/>
      <dgm:t>
        <a:bodyPr/>
        <a:lstStyle/>
        <a:p>
          <a:r>
            <a:rPr lang="en-US"/>
            <a:t>Will reach out to Marketer if anything is missing/need further information.</a:t>
          </a:r>
        </a:p>
      </dgm:t>
    </dgm:pt>
    <dgm:pt modelId="{097B1B15-B1AE-0241-BF91-F44BCA24C0D5}" type="parTrans" cxnId="{F14F1B4F-C168-B742-BC2C-89336D437014}">
      <dgm:prSet/>
      <dgm:spPr/>
      <dgm:t>
        <a:bodyPr/>
        <a:lstStyle/>
        <a:p>
          <a:endParaRPr lang="en-GB"/>
        </a:p>
      </dgm:t>
    </dgm:pt>
    <dgm:pt modelId="{BAE64504-F21A-FB45-87D0-11383A2BF775}" type="sibTrans" cxnId="{F14F1B4F-C168-B742-BC2C-89336D437014}">
      <dgm:prSet/>
      <dgm:spPr/>
      <dgm:t>
        <a:bodyPr/>
        <a:lstStyle/>
        <a:p>
          <a:endParaRPr lang="en-GB"/>
        </a:p>
      </dgm:t>
    </dgm:pt>
    <dgm:pt modelId="{140B99F1-A675-4677-A6D2-688025E799E8}">
      <dgm:prSet/>
      <dgm:spPr/>
      <dgm:t>
        <a:bodyPr/>
        <a:lstStyle/>
        <a:p>
          <a:endParaRPr lang="en-US"/>
        </a:p>
      </dgm:t>
    </dgm:pt>
    <dgm:pt modelId="{1FECDD8B-D468-4DB3-A54D-EA426F3751C7}" type="parTrans" cxnId="{4CFFFCF2-0E7B-4000-8931-8C7E1C58EACD}">
      <dgm:prSet/>
      <dgm:spPr/>
      <dgm:t>
        <a:bodyPr/>
        <a:lstStyle/>
        <a:p>
          <a:endParaRPr lang="en-US"/>
        </a:p>
      </dgm:t>
    </dgm:pt>
    <dgm:pt modelId="{A42734A6-340B-4B83-8EC5-444C714FB9D2}" type="sibTrans" cxnId="{4CFFFCF2-0E7B-4000-8931-8C7E1C58EACD}">
      <dgm:prSet/>
      <dgm:spPr/>
      <dgm:t>
        <a:bodyPr/>
        <a:lstStyle/>
        <a:p>
          <a:endParaRPr lang="en-US"/>
        </a:p>
      </dgm:t>
    </dgm:pt>
    <dgm:pt modelId="{014DB4E9-65FD-44B3-96ED-D161E54CAAAB}">
      <dgm:prSet/>
      <dgm:spPr/>
      <dgm:t>
        <a:bodyPr/>
        <a:lstStyle/>
        <a:p>
          <a:endParaRPr lang="en-US"/>
        </a:p>
      </dgm:t>
    </dgm:pt>
    <dgm:pt modelId="{01F7F9FF-7882-408A-8A7E-8E7201323DE3}" type="parTrans" cxnId="{5640B2EC-4BC2-4B56-AAA1-FC1F329EBD06}">
      <dgm:prSet/>
      <dgm:spPr/>
      <dgm:t>
        <a:bodyPr/>
        <a:lstStyle/>
        <a:p>
          <a:endParaRPr lang="en-US"/>
        </a:p>
      </dgm:t>
    </dgm:pt>
    <dgm:pt modelId="{BDE550CE-B1A8-4E11-9B88-877366658DD2}" type="sibTrans" cxnId="{5640B2EC-4BC2-4B56-AAA1-FC1F329EBD06}">
      <dgm:prSet/>
      <dgm:spPr/>
      <dgm:t>
        <a:bodyPr/>
        <a:lstStyle/>
        <a:p>
          <a:endParaRPr lang="en-US"/>
        </a:p>
      </dgm:t>
    </dgm:pt>
    <dgm:pt modelId="{82FA91DD-152C-40B9-9263-4345FB5F96A9}" type="pres">
      <dgm:prSet presAssocID="{864B3927-1474-4B82-9AAB-68B027CFA7E4}" presName="Name0" presStyleCnt="0">
        <dgm:presLayoutVars>
          <dgm:dir/>
          <dgm:animLvl val="lvl"/>
          <dgm:resizeHandles val="exact"/>
        </dgm:presLayoutVars>
      </dgm:prSet>
      <dgm:spPr/>
    </dgm:pt>
    <dgm:pt modelId="{860B7056-F035-458A-9BAB-E2169C935DDE}" type="pres">
      <dgm:prSet presAssocID="{40667492-3B9A-4808-9B44-2644A4B991D2}" presName="composite" presStyleCnt="0"/>
      <dgm:spPr/>
    </dgm:pt>
    <dgm:pt modelId="{7020A61C-590E-4A44-96EE-A7AACD40C0E0}" type="pres">
      <dgm:prSet presAssocID="{40667492-3B9A-4808-9B44-2644A4B991D2}" presName="par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8F24694D-B616-4D21-890D-7E0449172777}" type="pres">
      <dgm:prSet presAssocID="{40667492-3B9A-4808-9B44-2644A4B991D2}" presName="desTx" presStyleLbl="revTx" presStyleIdx="0" presStyleCnt="5">
        <dgm:presLayoutVars>
          <dgm:bulletEnabled val="1"/>
        </dgm:presLayoutVars>
      </dgm:prSet>
      <dgm:spPr/>
    </dgm:pt>
    <dgm:pt modelId="{F708D893-5052-475C-BB59-E01751BA2EFC}" type="pres">
      <dgm:prSet presAssocID="{73119D4B-37C8-4387-BBE7-8993EE775051}" presName="space" presStyleCnt="0"/>
      <dgm:spPr/>
    </dgm:pt>
    <dgm:pt modelId="{C7C7BE35-3D7E-4B1C-ABAC-680B01EF9839}" type="pres">
      <dgm:prSet presAssocID="{1EBC4143-2147-45DB-9DB5-E6219EFB3EB8}" presName="composite" presStyleCnt="0"/>
      <dgm:spPr/>
    </dgm:pt>
    <dgm:pt modelId="{B9B42FBE-AC2A-45EF-BAEB-B2575A5C3914}" type="pres">
      <dgm:prSet presAssocID="{1EBC4143-2147-45DB-9DB5-E6219EFB3EB8}" presName="par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FB7B25F2-A650-4454-912C-204E86683DE8}" type="pres">
      <dgm:prSet presAssocID="{1EBC4143-2147-45DB-9DB5-E6219EFB3EB8}" presName="desTx" presStyleLbl="revTx" presStyleIdx="1" presStyleCnt="5">
        <dgm:presLayoutVars>
          <dgm:bulletEnabled val="1"/>
        </dgm:presLayoutVars>
      </dgm:prSet>
      <dgm:spPr/>
    </dgm:pt>
    <dgm:pt modelId="{C8806E4E-8881-4005-85EC-D8A308BCDD2D}" type="pres">
      <dgm:prSet presAssocID="{EA9BBCE5-D013-431A-A5B2-6EF5546ACACA}" presName="space" presStyleCnt="0"/>
      <dgm:spPr/>
    </dgm:pt>
    <dgm:pt modelId="{51BBCB69-0173-4302-BBDA-569AE6F39403}" type="pres">
      <dgm:prSet presAssocID="{717C2B56-7DFE-4B52-92FA-C10BEB80EBE3}" presName="composite" presStyleCnt="0"/>
      <dgm:spPr/>
    </dgm:pt>
    <dgm:pt modelId="{5CD96CD1-2A2E-4497-BA06-97A5ABEB4F61}" type="pres">
      <dgm:prSet presAssocID="{717C2B56-7DFE-4B52-92FA-C10BEB80EBE3}" presName="par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21EC75C5-B7CA-4ABC-82CE-5436C16D5559}" type="pres">
      <dgm:prSet presAssocID="{717C2B56-7DFE-4B52-92FA-C10BEB80EBE3}" presName="desTx" presStyleLbl="revTx" presStyleIdx="2" presStyleCnt="5">
        <dgm:presLayoutVars>
          <dgm:bulletEnabled val="1"/>
        </dgm:presLayoutVars>
      </dgm:prSet>
      <dgm:spPr/>
    </dgm:pt>
    <dgm:pt modelId="{B5A8ACC6-AA32-4D52-8898-85E3C3B44529}" type="pres">
      <dgm:prSet presAssocID="{F6FC3553-A7F0-4146-B141-5DB85437E42D}" presName="space" presStyleCnt="0"/>
      <dgm:spPr/>
    </dgm:pt>
    <dgm:pt modelId="{505B4EA8-DEDF-4712-BBC2-69859BF00300}" type="pres">
      <dgm:prSet presAssocID="{0816A90F-4DA1-4BDF-B9C2-3F4AEF8C6882}" presName="composite" presStyleCnt="0"/>
      <dgm:spPr/>
    </dgm:pt>
    <dgm:pt modelId="{3F136E8E-18CE-441A-894F-FD56FBF9115B}" type="pres">
      <dgm:prSet presAssocID="{0816A90F-4DA1-4BDF-B9C2-3F4AEF8C6882}" presName="par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E5A62F5E-1C39-44BE-9E9E-3198A320B06D}" type="pres">
      <dgm:prSet presAssocID="{0816A90F-4DA1-4BDF-B9C2-3F4AEF8C6882}" presName="desTx" presStyleLbl="revTx" presStyleIdx="3" presStyleCnt="5">
        <dgm:presLayoutVars>
          <dgm:bulletEnabled val="1"/>
        </dgm:presLayoutVars>
      </dgm:prSet>
      <dgm:spPr/>
    </dgm:pt>
    <dgm:pt modelId="{C141AF6C-EBD5-4748-923C-C347ADA7F944}" type="pres">
      <dgm:prSet presAssocID="{8B74998E-DA8B-46AC-8C76-F3CD0462DE74}" presName="space" presStyleCnt="0"/>
      <dgm:spPr/>
    </dgm:pt>
    <dgm:pt modelId="{4B9E1136-8536-4CD5-8B2B-FE7673210538}" type="pres">
      <dgm:prSet presAssocID="{5D96EA32-605F-4EF3-BE3D-24A98E0821C6}" presName="composite" presStyleCnt="0"/>
      <dgm:spPr/>
    </dgm:pt>
    <dgm:pt modelId="{8B6B9EF5-C012-4FFE-8B33-5B03BDF21DE8}" type="pres">
      <dgm:prSet presAssocID="{5D96EA32-605F-4EF3-BE3D-24A98E0821C6}" presName="parTx" presStyleLbl="node1" presStyleIdx="4" presStyleCnt="5">
        <dgm:presLayoutVars>
          <dgm:chMax val="0"/>
          <dgm:chPref val="0"/>
          <dgm:bulletEnabled val="1"/>
        </dgm:presLayoutVars>
      </dgm:prSet>
      <dgm:spPr/>
    </dgm:pt>
    <dgm:pt modelId="{22225402-1364-4169-B445-A715F7568F62}" type="pres">
      <dgm:prSet presAssocID="{5D96EA32-605F-4EF3-BE3D-24A98E0821C6}" presName="desTx" presStyleLbl="revTx" presStyleIdx="4" presStyleCnt="5">
        <dgm:presLayoutVars>
          <dgm:bulletEnabled val="1"/>
        </dgm:presLayoutVars>
      </dgm:prSet>
      <dgm:spPr/>
    </dgm:pt>
  </dgm:ptLst>
  <dgm:cxnLst>
    <dgm:cxn modelId="{04972F0F-1913-4D0A-93EC-9C0755592E57}" type="presOf" srcId="{1EBC4143-2147-45DB-9DB5-E6219EFB3EB8}" destId="{B9B42FBE-AC2A-45EF-BAEB-B2575A5C3914}" srcOrd="0" destOrd="0" presId="urn:microsoft.com/office/officeart/2005/8/layout/chevron1"/>
    <dgm:cxn modelId="{75E8D313-BE93-45AC-97FE-E9C9E76B1EC7}" srcId="{864B3927-1474-4B82-9AAB-68B027CFA7E4}" destId="{717C2B56-7DFE-4B52-92FA-C10BEB80EBE3}" srcOrd="2" destOrd="0" parTransId="{F0FF87EE-D624-4E2B-8665-0FC9F4507B28}" sibTransId="{F6FC3553-A7F0-4146-B141-5DB85437E42D}"/>
    <dgm:cxn modelId="{4C2B7414-06FA-44B4-B0DC-7E3AB48CA4C8}" srcId="{864B3927-1474-4B82-9AAB-68B027CFA7E4}" destId="{1EBC4143-2147-45DB-9DB5-E6219EFB3EB8}" srcOrd="1" destOrd="0" parTransId="{47C16E5D-1C1A-42A3-A5C9-CE7B2C3429DF}" sibTransId="{EA9BBCE5-D013-431A-A5B2-6EF5546ACACA}"/>
    <dgm:cxn modelId="{8A922B15-CC05-41F4-84A0-06E5F1935A2C}" type="presOf" srcId="{2B87F1B8-6BC5-E54F-B4D0-ABAA5F33F74B}" destId="{FB7B25F2-A650-4454-912C-204E86683DE8}" srcOrd="0" destOrd="2" presId="urn:microsoft.com/office/officeart/2005/8/layout/chevron1"/>
    <dgm:cxn modelId="{513A9A1C-43A2-4BD8-B16B-0F6561C84AA1}" srcId="{0816A90F-4DA1-4BDF-B9C2-3F4AEF8C6882}" destId="{7FC1DA03-5294-4832-BEF2-5D639AFEBD01}" srcOrd="2" destOrd="0" parTransId="{FDA8C3EE-FB87-469D-A9D8-36F47886CBE3}" sibTransId="{B4175688-249A-481C-86FE-4B6A8897E1E5}"/>
    <dgm:cxn modelId="{5A2EF85C-A85B-483F-A5D8-15F5126F5840}" type="presOf" srcId="{0816A90F-4DA1-4BDF-B9C2-3F4AEF8C6882}" destId="{3F136E8E-18CE-441A-894F-FD56FBF9115B}" srcOrd="0" destOrd="0" presId="urn:microsoft.com/office/officeart/2005/8/layout/chevron1"/>
    <dgm:cxn modelId="{EF71275D-D071-4810-B670-9CC7D76A0B03}" srcId="{0816A90F-4DA1-4BDF-B9C2-3F4AEF8C6882}" destId="{77506DF5-0DF4-4C95-89B5-D47FA0707181}" srcOrd="0" destOrd="0" parTransId="{7970C798-6796-490B-9F93-A92BD9293314}" sibTransId="{765CB216-B9D8-4940-9F15-24CF5B64812B}"/>
    <dgm:cxn modelId="{22FB9A5E-B632-486D-9524-F550B91C5949}" type="presOf" srcId="{5D96EA32-605F-4EF3-BE3D-24A98E0821C6}" destId="{8B6B9EF5-C012-4FFE-8B33-5B03BDF21DE8}" srcOrd="0" destOrd="0" presId="urn:microsoft.com/office/officeart/2005/8/layout/chevron1"/>
    <dgm:cxn modelId="{25DBFC65-05AC-4A24-8F56-2AC0992C1F17}" type="presOf" srcId="{1CE25759-BD8E-4BD6-BB56-4CE95E0C7379}" destId="{8F24694D-B616-4D21-890D-7E0449172777}" srcOrd="0" destOrd="0" presId="urn:microsoft.com/office/officeart/2005/8/layout/chevron1"/>
    <dgm:cxn modelId="{C76B6C69-3F13-48C4-8216-09938B808590}" srcId="{5D96EA32-605F-4EF3-BE3D-24A98E0821C6}" destId="{6A3A05CB-2385-4B4D-87F1-F3C164446FDA}" srcOrd="0" destOrd="0" parTransId="{1996FF85-803C-4C6C-98AA-936862293702}" sibTransId="{91A9C0F1-455B-4199-ABD9-4042CF274363}"/>
    <dgm:cxn modelId="{64B52F4D-3CFC-4DFA-9D81-F21377C12EBD}" srcId="{717C2B56-7DFE-4B52-92FA-C10BEB80EBE3}" destId="{68798AF0-C790-4CA7-AF06-FCF60241D7E5}" srcOrd="0" destOrd="0" parTransId="{E76EE84E-919A-49BE-BE09-1BB13B7B1193}" sibTransId="{7290CEFA-AEA1-469D-9A6A-CE8B9D06544D}"/>
    <dgm:cxn modelId="{E0A4F26E-1CA7-4A11-B804-FEC67B1140DD}" srcId="{40667492-3B9A-4808-9B44-2644A4B991D2}" destId="{1CE25759-BD8E-4BD6-BB56-4CE95E0C7379}" srcOrd="0" destOrd="0" parTransId="{33750910-E20E-4A12-A915-99BDFEA81D59}" sibTransId="{91A0245E-65BE-44B1-99FA-51968EAD698C}"/>
    <dgm:cxn modelId="{F14F1B4F-C168-B742-BC2C-89336D437014}" srcId="{1EBC4143-2147-45DB-9DB5-E6219EFB3EB8}" destId="{2B87F1B8-6BC5-E54F-B4D0-ABAA5F33F74B}" srcOrd="2" destOrd="0" parTransId="{097B1B15-B1AE-0241-BF91-F44BCA24C0D5}" sibTransId="{BAE64504-F21A-FB45-87D0-11383A2BF775}"/>
    <dgm:cxn modelId="{C9E0F254-460D-4F60-B3AA-F00FB1A884B3}" type="presOf" srcId="{6A3A05CB-2385-4B4D-87F1-F3C164446FDA}" destId="{22225402-1364-4169-B445-A715F7568F62}" srcOrd="0" destOrd="0" presId="urn:microsoft.com/office/officeart/2005/8/layout/chevron1"/>
    <dgm:cxn modelId="{5C170356-B231-4C19-AC06-AC7D9F851512}" type="presOf" srcId="{77506DF5-0DF4-4C95-89B5-D47FA0707181}" destId="{E5A62F5E-1C39-44BE-9E9E-3198A320B06D}" srcOrd="0" destOrd="0" presId="urn:microsoft.com/office/officeart/2005/8/layout/chevron1"/>
    <dgm:cxn modelId="{19AE2E76-06FF-4014-914B-3EA81C25AEAC}" srcId="{864B3927-1474-4B82-9AAB-68B027CFA7E4}" destId="{5D96EA32-605F-4EF3-BE3D-24A98E0821C6}" srcOrd="4" destOrd="0" parTransId="{9656FE4A-E6A5-423A-83FA-EE546846DCAE}" sibTransId="{AC07225F-351F-43CA-BB7A-C762C378271B}"/>
    <dgm:cxn modelId="{F3843385-5513-494C-9B3C-6F20B0151D90}" type="presOf" srcId="{864B3927-1474-4B82-9AAB-68B027CFA7E4}" destId="{82FA91DD-152C-40B9-9263-4345FB5F96A9}" srcOrd="0" destOrd="0" presId="urn:microsoft.com/office/officeart/2005/8/layout/chevron1"/>
    <dgm:cxn modelId="{B0C6AE94-7D9E-43E0-B905-93F5AC804BED}" srcId="{864B3927-1474-4B82-9AAB-68B027CFA7E4}" destId="{40667492-3B9A-4808-9B44-2644A4B991D2}" srcOrd="0" destOrd="0" parTransId="{5265150F-48F8-497A-B496-AC892D819826}" sibTransId="{73119D4B-37C8-4387-BBE7-8993EE775051}"/>
    <dgm:cxn modelId="{E21E5D9C-519E-4586-94F7-930328C5CC96}" type="presOf" srcId="{014DB4E9-65FD-44B3-96ED-D161E54CAAAB}" destId="{E5A62F5E-1C39-44BE-9E9E-3198A320B06D}" srcOrd="0" destOrd="1" presId="urn:microsoft.com/office/officeart/2005/8/layout/chevron1"/>
    <dgm:cxn modelId="{0CEDF39E-F3D4-4A29-9C2E-96EC608D155C}" type="presOf" srcId="{1ED63E52-B893-EC49-9E62-9FA6A7AA5240}" destId="{FB7B25F2-A650-4454-912C-204E86683DE8}" srcOrd="0" destOrd="0" presId="urn:microsoft.com/office/officeart/2005/8/layout/chevron1"/>
    <dgm:cxn modelId="{3011C0A7-0A8B-2E46-A56C-816ED6D02C48}" srcId="{1EBC4143-2147-45DB-9DB5-E6219EFB3EB8}" destId="{1ED63E52-B893-EC49-9E62-9FA6A7AA5240}" srcOrd="0" destOrd="0" parTransId="{141ACBE8-4403-8A47-BFF7-3F32AFEEEC8D}" sibTransId="{D1C8C945-059C-FB4D-9D16-CE2A79FB3353}"/>
    <dgm:cxn modelId="{F7D064B2-0DF8-4B2C-AB8B-C60A48822AB2}" srcId="{864B3927-1474-4B82-9AAB-68B027CFA7E4}" destId="{0816A90F-4DA1-4BDF-B9C2-3F4AEF8C6882}" srcOrd="3" destOrd="0" parTransId="{E31070BC-FFB2-4F0A-8E4F-E0A4E2A1CDBE}" sibTransId="{8B74998E-DA8B-46AC-8C76-F3CD0462DE74}"/>
    <dgm:cxn modelId="{D4185CC3-D63A-45AB-9936-3C796164C071}" type="presOf" srcId="{7FC1DA03-5294-4832-BEF2-5D639AFEBD01}" destId="{E5A62F5E-1C39-44BE-9E9E-3198A320B06D}" srcOrd="0" destOrd="2" presId="urn:microsoft.com/office/officeart/2005/8/layout/chevron1"/>
    <dgm:cxn modelId="{7F7E7AC6-239D-45E4-B513-AA4E752D847A}" type="presOf" srcId="{40667492-3B9A-4808-9B44-2644A4B991D2}" destId="{7020A61C-590E-4A44-96EE-A7AACD40C0E0}" srcOrd="0" destOrd="0" presId="urn:microsoft.com/office/officeart/2005/8/layout/chevron1"/>
    <dgm:cxn modelId="{B7F78BEC-480B-4E34-8265-CF4AC87D7314}" type="presOf" srcId="{717C2B56-7DFE-4B52-92FA-C10BEB80EBE3}" destId="{5CD96CD1-2A2E-4497-BA06-97A5ABEB4F61}" srcOrd="0" destOrd="0" presId="urn:microsoft.com/office/officeart/2005/8/layout/chevron1"/>
    <dgm:cxn modelId="{5640B2EC-4BC2-4B56-AAA1-FC1F329EBD06}" srcId="{0816A90F-4DA1-4BDF-B9C2-3F4AEF8C6882}" destId="{014DB4E9-65FD-44B3-96ED-D161E54CAAAB}" srcOrd="1" destOrd="0" parTransId="{01F7F9FF-7882-408A-8A7E-8E7201323DE3}" sibTransId="{BDE550CE-B1A8-4E11-9B88-877366658DD2}"/>
    <dgm:cxn modelId="{E86B5FEF-7D30-486D-856B-CFC0EC9E5802}" type="presOf" srcId="{140B99F1-A675-4677-A6D2-688025E799E8}" destId="{FB7B25F2-A650-4454-912C-204E86683DE8}" srcOrd="0" destOrd="1" presId="urn:microsoft.com/office/officeart/2005/8/layout/chevron1"/>
    <dgm:cxn modelId="{4CFFFCF2-0E7B-4000-8931-8C7E1C58EACD}" srcId="{1EBC4143-2147-45DB-9DB5-E6219EFB3EB8}" destId="{140B99F1-A675-4677-A6D2-688025E799E8}" srcOrd="1" destOrd="0" parTransId="{1FECDD8B-D468-4DB3-A54D-EA426F3751C7}" sibTransId="{A42734A6-340B-4B83-8EC5-444C714FB9D2}"/>
    <dgm:cxn modelId="{0E7A30F8-5D85-4C3C-82F4-50DF2F1B3FD5}" type="presOf" srcId="{68798AF0-C790-4CA7-AF06-FCF60241D7E5}" destId="{21EC75C5-B7CA-4ABC-82CE-5436C16D5559}" srcOrd="0" destOrd="0" presId="urn:microsoft.com/office/officeart/2005/8/layout/chevron1"/>
    <dgm:cxn modelId="{46BED0EE-AE67-44D3-BF94-2A001121417F}" type="presParOf" srcId="{82FA91DD-152C-40B9-9263-4345FB5F96A9}" destId="{860B7056-F035-458A-9BAB-E2169C935DDE}" srcOrd="0" destOrd="0" presId="urn:microsoft.com/office/officeart/2005/8/layout/chevron1"/>
    <dgm:cxn modelId="{ACD9BE6D-B877-4BB8-93EC-6B46E0224628}" type="presParOf" srcId="{860B7056-F035-458A-9BAB-E2169C935DDE}" destId="{7020A61C-590E-4A44-96EE-A7AACD40C0E0}" srcOrd="0" destOrd="0" presId="urn:microsoft.com/office/officeart/2005/8/layout/chevron1"/>
    <dgm:cxn modelId="{F76D4F4E-1AA3-49C3-A473-32B01F78A7D1}" type="presParOf" srcId="{860B7056-F035-458A-9BAB-E2169C935DDE}" destId="{8F24694D-B616-4D21-890D-7E0449172777}" srcOrd="1" destOrd="0" presId="urn:microsoft.com/office/officeart/2005/8/layout/chevron1"/>
    <dgm:cxn modelId="{D31D43BF-4143-45A3-99C1-5CBE4F1E8346}" type="presParOf" srcId="{82FA91DD-152C-40B9-9263-4345FB5F96A9}" destId="{F708D893-5052-475C-BB59-E01751BA2EFC}" srcOrd="1" destOrd="0" presId="urn:microsoft.com/office/officeart/2005/8/layout/chevron1"/>
    <dgm:cxn modelId="{B94BB728-9662-417E-BD33-74CE462BF02D}" type="presParOf" srcId="{82FA91DD-152C-40B9-9263-4345FB5F96A9}" destId="{C7C7BE35-3D7E-4B1C-ABAC-680B01EF9839}" srcOrd="2" destOrd="0" presId="urn:microsoft.com/office/officeart/2005/8/layout/chevron1"/>
    <dgm:cxn modelId="{9DE12DB1-270A-4F6A-8F94-038A1CEF2610}" type="presParOf" srcId="{C7C7BE35-3D7E-4B1C-ABAC-680B01EF9839}" destId="{B9B42FBE-AC2A-45EF-BAEB-B2575A5C3914}" srcOrd="0" destOrd="0" presId="urn:microsoft.com/office/officeart/2005/8/layout/chevron1"/>
    <dgm:cxn modelId="{26443499-A06F-4B6F-818A-06599E85DB3F}" type="presParOf" srcId="{C7C7BE35-3D7E-4B1C-ABAC-680B01EF9839}" destId="{FB7B25F2-A650-4454-912C-204E86683DE8}" srcOrd="1" destOrd="0" presId="urn:microsoft.com/office/officeart/2005/8/layout/chevron1"/>
    <dgm:cxn modelId="{314023CA-D454-4F49-B814-1561F2CC1110}" type="presParOf" srcId="{82FA91DD-152C-40B9-9263-4345FB5F96A9}" destId="{C8806E4E-8881-4005-85EC-D8A308BCDD2D}" srcOrd="3" destOrd="0" presId="urn:microsoft.com/office/officeart/2005/8/layout/chevron1"/>
    <dgm:cxn modelId="{301F3A13-A356-4BE6-955D-156AFDCEDA88}" type="presParOf" srcId="{82FA91DD-152C-40B9-9263-4345FB5F96A9}" destId="{51BBCB69-0173-4302-BBDA-569AE6F39403}" srcOrd="4" destOrd="0" presId="urn:microsoft.com/office/officeart/2005/8/layout/chevron1"/>
    <dgm:cxn modelId="{9241B83C-8CE6-49B3-A0ED-9326DF534564}" type="presParOf" srcId="{51BBCB69-0173-4302-BBDA-569AE6F39403}" destId="{5CD96CD1-2A2E-4497-BA06-97A5ABEB4F61}" srcOrd="0" destOrd="0" presId="urn:microsoft.com/office/officeart/2005/8/layout/chevron1"/>
    <dgm:cxn modelId="{B90FBE44-FDC7-40B2-8C03-8F21A4C1EDA5}" type="presParOf" srcId="{51BBCB69-0173-4302-BBDA-569AE6F39403}" destId="{21EC75C5-B7CA-4ABC-82CE-5436C16D5559}" srcOrd="1" destOrd="0" presId="urn:microsoft.com/office/officeart/2005/8/layout/chevron1"/>
    <dgm:cxn modelId="{E6C4E466-28CF-4DE9-99C6-537AB58384CB}" type="presParOf" srcId="{82FA91DD-152C-40B9-9263-4345FB5F96A9}" destId="{B5A8ACC6-AA32-4D52-8898-85E3C3B44529}" srcOrd="5" destOrd="0" presId="urn:microsoft.com/office/officeart/2005/8/layout/chevron1"/>
    <dgm:cxn modelId="{F480CF86-A515-42DB-A287-9EAC36475194}" type="presParOf" srcId="{82FA91DD-152C-40B9-9263-4345FB5F96A9}" destId="{505B4EA8-DEDF-4712-BBC2-69859BF00300}" srcOrd="6" destOrd="0" presId="urn:microsoft.com/office/officeart/2005/8/layout/chevron1"/>
    <dgm:cxn modelId="{5B8A67A0-E5B5-4103-B990-F823156C4D1B}" type="presParOf" srcId="{505B4EA8-DEDF-4712-BBC2-69859BF00300}" destId="{3F136E8E-18CE-441A-894F-FD56FBF9115B}" srcOrd="0" destOrd="0" presId="urn:microsoft.com/office/officeart/2005/8/layout/chevron1"/>
    <dgm:cxn modelId="{F1009E79-B8DA-4D9B-90C2-98E99CE5B5AD}" type="presParOf" srcId="{505B4EA8-DEDF-4712-BBC2-69859BF00300}" destId="{E5A62F5E-1C39-44BE-9E9E-3198A320B06D}" srcOrd="1" destOrd="0" presId="urn:microsoft.com/office/officeart/2005/8/layout/chevron1"/>
    <dgm:cxn modelId="{BC2A6915-677F-4E3A-9D07-54D0873A2586}" type="presParOf" srcId="{82FA91DD-152C-40B9-9263-4345FB5F96A9}" destId="{C141AF6C-EBD5-4748-923C-C347ADA7F944}" srcOrd="7" destOrd="0" presId="urn:microsoft.com/office/officeart/2005/8/layout/chevron1"/>
    <dgm:cxn modelId="{DAB0245C-E2D3-4F27-B215-59C6726DA1AB}" type="presParOf" srcId="{82FA91DD-152C-40B9-9263-4345FB5F96A9}" destId="{4B9E1136-8536-4CD5-8B2B-FE7673210538}" srcOrd="8" destOrd="0" presId="urn:microsoft.com/office/officeart/2005/8/layout/chevron1"/>
    <dgm:cxn modelId="{6ACA8C57-2D61-42C1-B6D1-438BA9FF93CD}" type="presParOf" srcId="{4B9E1136-8536-4CD5-8B2B-FE7673210538}" destId="{8B6B9EF5-C012-4FFE-8B33-5B03BDF21DE8}" srcOrd="0" destOrd="0" presId="urn:microsoft.com/office/officeart/2005/8/layout/chevron1"/>
    <dgm:cxn modelId="{E0112DCD-9401-4D98-A9A2-85EE25F018FE}" type="presParOf" srcId="{4B9E1136-8536-4CD5-8B2B-FE7673210538}" destId="{22225402-1364-4169-B445-A715F7568F62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4B3927-1474-4B82-9AAB-68B027CFA7E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EB909BA-060F-4989-8820-AC4AEFDCE3B5}">
      <dgm:prSet phldr="0"/>
      <dgm:spPr/>
      <dgm:t>
        <a:bodyPr/>
        <a:lstStyle/>
        <a:p>
          <a:pPr rtl="0"/>
          <a:r>
            <a:rPr lang="en-IN">
              <a:solidFill>
                <a:srgbClr val="000000"/>
              </a:solidFill>
              <a:latin typeface="Calibri"/>
              <a:ea typeface="Calibri"/>
              <a:cs typeface="Calibri"/>
            </a:rPr>
            <a:t>Uploads assets to </a:t>
          </a:r>
          <a:r>
            <a:rPr lang="en-IN">
              <a:latin typeface="Calibri"/>
              <a:ea typeface="Calibri"/>
              <a:cs typeface="Calibri"/>
            </a:rPr>
            <a:t>Sales Spot</a:t>
          </a:r>
          <a:endParaRPr lang="en-US"/>
        </a:p>
      </dgm:t>
    </dgm:pt>
    <dgm:pt modelId="{E920D121-DCEF-46D9-BD99-3C5410221500}" type="parTrans" cxnId="{64BEDE81-3071-409F-AC49-E7F2F8D335B6}">
      <dgm:prSet/>
      <dgm:spPr/>
    </dgm:pt>
    <dgm:pt modelId="{C614F7F1-716B-416E-AAB4-8CB6EC1B0CB3}" type="sibTrans" cxnId="{64BEDE81-3071-409F-AC49-E7F2F8D335B6}">
      <dgm:prSet/>
      <dgm:spPr/>
    </dgm:pt>
    <dgm:pt modelId="{FFE0890A-3D12-4A5B-BF16-0A397CD6C964}">
      <dgm:prSet phldr="0"/>
      <dgm:spPr/>
      <dgm:t>
        <a:bodyPr/>
        <a:lstStyle/>
        <a:p>
          <a:pPr rtl="0"/>
          <a:r>
            <a:rPr lang="en-US">
              <a:solidFill>
                <a:srgbClr val="444444"/>
              </a:solidFill>
              <a:latin typeface="Calibri"/>
              <a:ea typeface="Calibri"/>
              <a:cs typeface="Calibri"/>
            </a:rPr>
            <a:t>Sales Spot Team</a:t>
          </a:r>
        </a:p>
      </dgm:t>
    </dgm:pt>
    <dgm:pt modelId="{0E042DB0-6C65-4668-A9AD-9825CFD4BC77}" type="parTrans" cxnId="{FD90F708-371B-4D0B-84A7-218B74C74C02}">
      <dgm:prSet/>
      <dgm:spPr/>
    </dgm:pt>
    <dgm:pt modelId="{B123EC9E-B89D-4610-8519-1538E08B494F}" type="sibTrans" cxnId="{FD90F708-371B-4D0B-84A7-218B74C74C02}">
      <dgm:prSet/>
      <dgm:spPr/>
    </dgm:pt>
    <dgm:pt modelId="{661B0DB2-A220-4C66-9373-62DD3E3AB2F4}">
      <dgm:prSet phldr="0"/>
      <dgm:spPr/>
      <dgm:t>
        <a:bodyPr/>
        <a:lstStyle/>
        <a:p>
          <a:pPr rtl="0"/>
          <a:r>
            <a:rPr lang="en-US">
              <a:solidFill>
                <a:srgbClr val="444444"/>
              </a:solidFill>
              <a:latin typeface="Calibri"/>
              <a:ea typeface="Calibri"/>
              <a:cs typeface="Calibri"/>
            </a:rPr>
            <a:t>Asset Ticket</a:t>
          </a:r>
          <a:endParaRPr lang="en-US">
            <a:solidFill>
              <a:srgbClr val="444444"/>
            </a:solidFill>
            <a:latin typeface="Arial" panose="020B0604020202020204"/>
            <a:ea typeface="Calibri"/>
            <a:cs typeface="Arial" panose="020B0604020202020204"/>
          </a:endParaRPr>
        </a:p>
      </dgm:t>
    </dgm:pt>
    <dgm:pt modelId="{93FBC1FA-7B16-4F29-BE7F-121179F3AA1A}" type="parTrans" cxnId="{7C7E2851-EA78-42AA-A2D2-992E614CA947}">
      <dgm:prSet/>
      <dgm:spPr/>
    </dgm:pt>
    <dgm:pt modelId="{B22415AE-E9EC-41A4-9355-2AE57BC33F8F}" type="sibTrans" cxnId="{7C7E2851-EA78-42AA-A2D2-992E614CA947}">
      <dgm:prSet/>
      <dgm:spPr/>
    </dgm:pt>
    <dgm:pt modelId="{6B556C35-4437-4E48-B2FE-72AF0D0B8FE8}">
      <dgm:prSet phldr="0"/>
      <dgm:spPr/>
      <dgm:t>
        <a:bodyPr/>
        <a:lstStyle/>
        <a:p>
          <a:r>
            <a:rPr lang="en-IN">
              <a:solidFill>
                <a:srgbClr val="444444"/>
              </a:solidFill>
              <a:latin typeface="Calibri"/>
              <a:ea typeface="Calibri"/>
              <a:cs typeface="Calibri"/>
            </a:rPr>
            <a:t>Request initiated by Marketer through VIA</a:t>
          </a:r>
          <a:endParaRPr lang="en-US">
            <a:solidFill>
              <a:srgbClr val="444444"/>
            </a:solidFill>
            <a:latin typeface="Calibri"/>
            <a:ea typeface="Calibri"/>
            <a:cs typeface="Calibri"/>
          </a:endParaRPr>
        </a:p>
      </dgm:t>
    </dgm:pt>
    <dgm:pt modelId="{02260E56-E2CF-477F-8B6B-D1130A5C3BD6}" type="parTrans" cxnId="{4627DFFD-1077-42F6-874A-AD0BC4E2B966}">
      <dgm:prSet/>
      <dgm:spPr/>
    </dgm:pt>
    <dgm:pt modelId="{C0C738FD-7DF2-450E-A884-8A70CCE94C34}" type="sibTrans" cxnId="{4627DFFD-1077-42F6-874A-AD0BC4E2B966}">
      <dgm:prSet/>
      <dgm:spPr/>
    </dgm:pt>
    <dgm:pt modelId="{23B5D53F-E544-4203-BF71-A110E5DEA496}">
      <dgm:prSet phldr="0"/>
      <dgm:spPr/>
      <dgm:t>
        <a:bodyPr/>
        <a:lstStyle/>
        <a:p>
          <a:pPr rtl="0"/>
          <a:r>
            <a:rPr lang="en-US">
              <a:solidFill>
                <a:srgbClr val="444444"/>
              </a:solidFill>
              <a:latin typeface="Calibri"/>
              <a:ea typeface="Calibri"/>
              <a:cs typeface="Calibri"/>
            </a:rPr>
            <a:t>Creative Service Team</a:t>
          </a:r>
          <a:endParaRPr lang="en-US">
            <a:solidFill>
              <a:srgbClr val="444444"/>
            </a:solidFill>
          </a:endParaRPr>
        </a:p>
      </dgm:t>
    </dgm:pt>
    <dgm:pt modelId="{0DF373C9-5065-4B9A-A84E-A7112C6221C2}" type="parTrans" cxnId="{A2E8AD9F-D7E7-4A1F-A718-0C34A582737E}">
      <dgm:prSet/>
      <dgm:spPr/>
    </dgm:pt>
    <dgm:pt modelId="{E748AE61-5049-4A12-A992-24EA8538B5C1}" type="sibTrans" cxnId="{A2E8AD9F-D7E7-4A1F-A718-0C34A582737E}">
      <dgm:prSet/>
      <dgm:spPr/>
    </dgm:pt>
    <dgm:pt modelId="{4848D46F-8106-4D91-AE84-74B4532A1AE4}">
      <dgm:prSet phldr="0"/>
      <dgm:spPr/>
      <dgm:t>
        <a:bodyPr/>
        <a:lstStyle/>
        <a:p>
          <a:pPr rtl="0"/>
          <a:r>
            <a:rPr lang="en-IN">
              <a:solidFill>
                <a:srgbClr val="444444"/>
              </a:solidFill>
              <a:latin typeface="Calibri"/>
              <a:ea typeface="Calibri"/>
              <a:cs typeface="Calibri"/>
            </a:rPr>
            <a:t>Uploads assets to </a:t>
          </a:r>
          <a:r>
            <a:rPr lang="en-IN" err="1">
              <a:solidFill>
                <a:srgbClr val="444444"/>
              </a:solidFill>
              <a:latin typeface="Calibri"/>
              <a:ea typeface="Calibri"/>
              <a:cs typeface="Calibri"/>
            </a:rPr>
            <a:t>Brandworld</a:t>
          </a:r>
          <a:endParaRPr lang="en-IN">
            <a:solidFill>
              <a:srgbClr val="444444"/>
            </a:solidFill>
            <a:latin typeface="Calibri"/>
            <a:ea typeface="Calibri"/>
            <a:cs typeface="Calibri"/>
          </a:endParaRPr>
        </a:p>
      </dgm:t>
    </dgm:pt>
    <dgm:pt modelId="{04CA8328-9DA9-42A1-BE6F-B8016294C357}" type="parTrans" cxnId="{1F8F2209-14BA-480B-AF3D-F5C55652CF16}">
      <dgm:prSet/>
      <dgm:spPr/>
    </dgm:pt>
    <dgm:pt modelId="{033E8254-1D10-41A5-A68F-ADD94DC3E4E2}" type="sibTrans" cxnId="{1F8F2209-14BA-480B-AF3D-F5C55652CF16}">
      <dgm:prSet/>
      <dgm:spPr/>
    </dgm:pt>
    <dgm:pt modelId="{C0EF0D14-21C2-4D3C-8F0E-155EAB681016}">
      <dgm:prSet phldr="0"/>
      <dgm:spPr/>
      <dgm:t>
        <a:bodyPr/>
        <a:lstStyle/>
        <a:p>
          <a:pPr rtl="0"/>
          <a:r>
            <a:rPr lang="en-US">
              <a:solidFill>
                <a:srgbClr val="444444"/>
              </a:solidFill>
              <a:latin typeface="Calibri"/>
              <a:ea typeface="Calibri"/>
              <a:cs typeface="Calibri"/>
            </a:rPr>
            <a:t>Web Ops Team</a:t>
          </a:r>
        </a:p>
      </dgm:t>
    </dgm:pt>
    <dgm:pt modelId="{4AF0896C-FF5B-45F9-87D1-98E69E18A974}" type="parTrans" cxnId="{CCDE18D1-060A-4F69-A842-74C9C5808D91}">
      <dgm:prSet/>
      <dgm:spPr/>
    </dgm:pt>
    <dgm:pt modelId="{894F8888-8ACF-4DFC-A4B7-0407AA120584}" type="sibTrans" cxnId="{CCDE18D1-060A-4F69-A842-74C9C5808D91}">
      <dgm:prSet/>
      <dgm:spPr/>
    </dgm:pt>
    <dgm:pt modelId="{BAC8003C-372A-4FF5-8C67-B033B3864916}">
      <dgm:prSet phldr="0"/>
      <dgm:spPr/>
      <dgm:t>
        <a:bodyPr/>
        <a:lstStyle/>
        <a:p>
          <a:pPr rtl="0"/>
          <a:r>
            <a:rPr lang="en-IN">
              <a:solidFill>
                <a:srgbClr val="444444"/>
              </a:solidFill>
              <a:latin typeface="Calibri"/>
              <a:ea typeface="Calibri"/>
              <a:cs typeface="Calibri"/>
            </a:rPr>
            <a:t>Creates asset web page in IQVIA.com</a:t>
          </a:r>
        </a:p>
      </dgm:t>
    </dgm:pt>
    <dgm:pt modelId="{277341E6-4E1E-4218-8685-61413346B1DC}" type="parTrans" cxnId="{3E79012B-3226-408D-AEDE-A4BCF214D9A7}">
      <dgm:prSet/>
      <dgm:spPr/>
    </dgm:pt>
    <dgm:pt modelId="{046500A2-3D49-412E-BE76-C297BD6C6CA0}" type="sibTrans" cxnId="{3E79012B-3226-408D-AEDE-A4BCF214D9A7}">
      <dgm:prSet/>
      <dgm:spPr/>
    </dgm:pt>
    <dgm:pt modelId="{D3E683E2-F6A1-4C4E-A3DF-491DDF38B456}" type="pres">
      <dgm:prSet presAssocID="{864B3927-1474-4B82-9AAB-68B027CFA7E4}" presName="Name0" presStyleCnt="0">
        <dgm:presLayoutVars>
          <dgm:dir/>
          <dgm:animLvl val="lvl"/>
          <dgm:resizeHandles val="exact"/>
        </dgm:presLayoutVars>
      </dgm:prSet>
      <dgm:spPr/>
    </dgm:pt>
    <dgm:pt modelId="{7015A116-55CE-4362-936C-740DCCBFEBF9}" type="pres">
      <dgm:prSet presAssocID="{661B0DB2-A220-4C66-9373-62DD3E3AB2F4}" presName="composite" presStyleCnt="0"/>
      <dgm:spPr/>
    </dgm:pt>
    <dgm:pt modelId="{D0FE846D-279A-4276-A5C3-B509AC132ECC}" type="pres">
      <dgm:prSet presAssocID="{661B0DB2-A220-4C66-9373-62DD3E3AB2F4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ED2BAE49-531C-4732-9650-DA8815920DEE}" type="pres">
      <dgm:prSet presAssocID="{661B0DB2-A220-4C66-9373-62DD3E3AB2F4}" presName="desTx" presStyleLbl="revTx" presStyleIdx="0" presStyleCnt="4">
        <dgm:presLayoutVars>
          <dgm:bulletEnabled val="1"/>
        </dgm:presLayoutVars>
      </dgm:prSet>
      <dgm:spPr/>
    </dgm:pt>
    <dgm:pt modelId="{4E985DFA-0EBB-48FC-8B40-831E5DC28B8C}" type="pres">
      <dgm:prSet presAssocID="{B22415AE-E9EC-41A4-9355-2AE57BC33F8F}" presName="space" presStyleCnt="0"/>
      <dgm:spPr/>
    </dgm:pt>
    <dgm:pt modelId="{249F6688-A8FE-46D8-9054-68283178EF17}" type="pres">
      <dgm:prSet presAssocID="{23B5D53F-E544-4203-BF71-A110E5DEA496}" presName="composite" presStyleCnt="0"/>
      <dgm:spPr/>
    </dgm:pt>
    <dgm:pt modelId="{A3CF6912-C3AF-4157-9746-5A9482CBADC8}" type="pres">
      <dgm:prSet presAssocID="{23B5D53F-E544-4203-BF71-A110E5DEA496}" presName="par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10AC77E-2BA8-4AE2-9987-E3215EEB354E}" type="pres">
      <dgm:prSet presAssocID="{23B5D53F-E544-4203-BF71-A110E5DEA496}" presName="desTx" presStyleLbl="revTx" presStyleIdx="1" presStyleCnt="4">
        <dgm:presLayoutVars>
          <dgm:bulletEnabled val="1"/>
        </dgm:presLayoutVars>
      </dgm:prSet>
      <dgm:spPr/>
    </dgm:pt>
    <dgm:pt modelId="{3989AAC1-2B75-47D6-892B-0773ACC1087C}" type="pres">
      <dgm:prSet presAssocID="{E748AE61-5049-4A12-A992-24EA8538B5C1}" presName="space" presStyleCnt="0"/>
      <dgm:spPr/>
    </dgm:pt>
    <dgm:pt modelId="{A6B8CFBB-AFDB-43C6-9CF1-731F55F78383}" type="pres">
      <dgm:prSet presAssocID="{C0EF0D14-21C2-4D3C-8F0E-155EAB681016}" presName="composite" presStyleCnt="0"/>
      <dgm:spPr/>
    </dgm:pt>
    <dgm:pt modelId="{BE033B66-E151-421C-B978-5349FBBF97ED}" type="pres">
      <dgm:prSet presAssocID="{C0EF0D14-21C2-4D3C-8F0E-155EAB681016}" presName="par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75D49AD-3A72-4D54-9DB3-E7226CA70C85}" type="pres">
      <dgm:prSet presAssocID="{C0EF0D14-21C2-4D3C-8F0E-155EAB681016}" presName="desTx" presStyleLbl="revTx" presStyleIdx="2" presStyleCnt="4">
        <dgm:presLayoutVars>
          <dgm:bulletEnabled val="1"/>
        </dgm:presLayoutVars>
      </dgm:prSet>
      <dgm:spPr/>
    </dgm:pt>
    <dgm:pt modelId="{5DE30BEC-7FAD-4E2B-B290-B8C2A263ABDC}" type="pres">
      <dgm:prSet presAssocID="{894F8888-8ACF-4DFC-A4B7-0407AA120584}" presName="space" presStyleCnt="0"/>
      <dgm:spPr/>
    </dgm:pt>
    <dgm:pt modelId="{7FAC36CF-89BC-4684-9CDB-F46C083DAA3F}" type="pres">
      <dgm:prSet presAssocID="{FFE0890A-3D12-4A5B-BF16-0A397CD6C964}" presName="composite" presStyleCnt="0"/>
      <dgm:spPr/>
    </dgm:pt>
    <dgm:pt modelId="{2DFCB3ED-5C91-43AB-9808-E968E4DA7DC8}" type="pres">
      <dgm:prSet presAssocID="{FFE0890A-3D12-4A5B-BF16-0A397CD6C964}" presName="par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13A7555E-CF10-4008-AA3D-A67EC16CECC0}" type="pres">
      <dgm:prSet presAssocID="{FFE0890A-3D12-4A5B-BF16-0A397CD6C964}" presName="desTx" presStyleLbl="revTx" presStyleIdx="3" presStyleCnt="4">
        <dgm:presLayoutVars>
          <dgm:bulletEnabled val="1"/>
        </dgm:presLayoutVars>
      </dgm:prSet>
      <dgm:spPr/>
    </dgm:pt>
  </dgm:ptLst>
  <dgm:cxnLst>
    <dgm:cxn modelId="{FD90F708-371B-4D0B-84A7-218B74C74C02}" srcId="{864B3927-1474-4B82-9AAB-68B027CFA7E4}" destId="{FFE0890A-3D12-4A5B-BF16-0A397CD6C964}" srcOrd="3" destOrd="0" parTransId="{0E042DB0-6C65-4668-A9AD-9825CFD4BC77}" sibTransId="{B123EC9E-B89D-4610-8519-1538E08B494F}"/>
    <dgm:cxn modelId="{1F8F2209-14BA-480B-AF3D-F5C55652CF16}" srcId="{23B5D53F-E544-4203-BF71-A110E5DEA496}" destId="{4848D46F-8106-4D91-AE84-74B4532A1AE4}" srcOrd="0" destOrd="0" parTransId="{04CA8328-9DA9-42A1-BE6F-B8016294C357}" sibTransId="{033E8254-1D10-41A5-A68F-ADD94DC3E4E2}"/>
    <dgm:cxn modelId="{3E79012B-3226-408D-AEDE-A4BCF214D9A7}" srcId="{C0EF0D14-21C2-4D3C-8F0E-155EAB681016}" destId="{BAC8003C-372A-4FF5-8C67-B033B3864916}" srcOrd="0" destOrd="0" parTransId="{277341E6-4E1E-4218-8685-61413346B1DC}" sibTransId="{046500A2-3D49-412E-BE76-C297BD6C6CA0}"/>
    <dgm:cxn modelId="{7E969B38-3E6F-4B78-A343-6E1B728661F8}" type="presOf" srcId="{BAC8003C-372A-4FF5-8C67-B033B3864916}" destId="{275D49AD-3A72-4D54-9DB3-E7226CA70C85}" srcOrd="0" destOrd="0" presId="urn:microsoft.com/office/officeart/2005/8/layout/chevron1"/>
    <dgm:cxn modelId="{7C7E2851-EA78-42AA-A2D2-992E614CA947}" srcId="{864B3927-1474-4B82-9AAB-68B027CFA7E4}" destId="{661B0DB2-A220-4C66-9373-62DD3E3AB2F4}" srcOrd="0" destOrd="0" parTransId="{93FBC1FA-7B16-4F29-BE7F-121179F3AA1A}" sibTransId="{B22415AE-E9EC-41A4-9355-2AE57BC33F8F}"/>
    <dgm:cxn modelId="{DD70B657-E799-4D86-B641-5E518608BE6C}" type="presOf" srcId="{661B0DB2-A220-4C66-9373-62DD3E3AB2F4}" destId="{D0FE846D-279A-4276-A5C3-B509AC132ECC}" srcOrd="0" destOrd="0" presId="urn:microsoft.com/office/officeart/2005/8/layout/chevron1"/>
    <dgm:cxn modelId="{6E139679-9A4E-4DC7-90A3-BBCC652723CD}" type="presOf" srcId="{AEB909BA-060F-4989-8820-AC4AEFDCE3B5}" destId="{13A7555E-CF10-4008-AA3D-A67EC16CECC0}" srcOrd="0" destOrd="0" presId="urn:microsoft.com/office/officeart/2005/8/layout/chevron1"/>
    <dgm:cxn modelId="{64BEDE81-3071-409F-AC49-E7F2F8D335B6}" srcId="{FFE0890A-3D12-4A5B-BF16-0A397CD6C964}" destId="{AEB909BA-060F-4989-8820-AC4AEFDCE3B5}" srcOrd="0" destOrd="0" parTransId="{E920D121-DCEF-46D9-BD99-3C5410221500}" sibTransId="{C614F7F1-716B-416E-AAB4-8CB6EC1B0CB3}"/>
    <dgm:cxn modelId="{9FD8EA85-DF61-410D-8BAD-B71B9920F9F8}" type="presOf" srcId="{4848D46F-8106-4D91-AE84-74B4532A1AE4}" destId="{610AC77E-2BA8-4AE2-9987-E3215EEB354E}" srcOrd="0" destOrd="0" presId="urn:microsoft.com/office/officeart/2005/8/layout/chevron1"/>
    <dgm:cxn modelId="{A2E8AD9F-D7E7-4A1F-A718-0C34A582737E}" srcId="{864B3927-1474-4B82-9AAB-68B027CFA7E4}" destId="{23B5D53F-E544-4203-BF71-A110E5DEA496}" srcOrd="1" destOrd="0" parTransId="{0DF373C9-5065-4B9A-A84E-A7112C6221C2}" sibTransId="{E748AE61-5049-4A12-A992-24EA8538B5C1}"/>
    <dgm:cxn modelId="{C222EBBD-E86D-4E87-8619-97A44CE56671}" type="presOf" srcId="{FFE0890A-3D12-4A5B-BF16-0A397CD6C964}" destId="{2DFCB3ED-5C91-43AB-9808-E968E4DA7DC8}" srcOrd="0" destOrd="0" presId="urn:microsoft.com/office/officeart/2005/8/layout/chevron1"/>
    <dgm:cxn modelId="{81650CBE-0579-46FD-B5B8-61D024A8AA68}" type="presOf" srcId="{23B5D53F-E544-4203-BF71-A110E5DEA496}" destId="{A3CF6912-C3AF-4157-9746-5A9482CBADC8}" srcOrd="0" destOrd="0" presId="urn:microsoft.com/office/officeart/2005/8/layout/chevron1"/>
    <dgm:cxn modelId="{0A7069BE-802A-49F4-987C-4505112D8534}" type="presOf" srcId="{C0EF0D14-21C2-4D3C-8F0E-155EAB681016}" destId="{BE033B66-E151-421C-B978-5349FBBF97ED}" srcOrd="0" destOrd="0" presId="urn:microsoft.com/office/officeart/2005/8/layout/chevron1"/>
    <dgm:cxn modelId="{CCDE18D1-060A-4F69-A842-74C9C5808D91}" srcId="{864B3927-1474-4B82-9AAB-68B027CFA7E4}" destId="{C0EF0D14-21C2-4D3C-8F0E-155EAB681016}" srcOrd="2" destOrd="0" parTransId="{4AF0896C-FF5B-45F9-87D1-98E69E18A974}" sibTransId="{894F8888-8ACF-4DFC-A4B7-0407AA120584}"/>
    <dgm:cxn modelId="{1FCD1CD5-2FE5-41A0-A481-A04C8B4F68AB}" type="presOf" srcId="{864B3927-1474-4B82-9AAB-68B027CFA7E4}" destId="{D3E683E2-F6A1-4C4E-A3DF-491DDF38B456}" srcOrd="0" destOrd="0" presId="urn:microsoft.com/office/officeart/2005/8/layout/chevron1"/>
    <dgm:cxn modelId="{0C65CBF0-4E32-4B31-BDBD-3CB935A048F6}" type="presOf" srcId="{6B556C35-4437-4E48-B2FE-72AF0D0B8FE8}" destId="{ED2BAE49-531C-4732-9650-DA8815920DEE}" srcOrd="0" destOrd="0" presId="urn:microsoft.com/office/officeart/2005/8/layout/chevron1"/>
    <dgm:cxn modelId="{4627DFFD-1077-42F6-874A-AD0BC4E2B966}" srcId="{661B0DB2-A220-4C66-9373-62DD3E3AB2F4}" destId="{6B556C35-4437-4E48-B2FE-72AF0D0B8FE8}" srcOrd="0" destOrd="0" parTransId="{02260E56-E2CF-477F-8B6B-D1130A5C3BD6}" sibTransId="{C0C738FD-7DF2-450E-A884-8A70CCE94C34}"/>
    <dgm:cxn modelId="{A13A9734-DD9C-4B8C-B8FA-89C3D08A23C6}" type="presParOf" srcId="{D3E683E2-F6A1-4C4E-A3DF-491DDF38B456}" destId="{7015A116-55CE-4362-936C-740DCCBFEBF9}" srcOrd="0" destOrd="0" presId="urn:microsoft.com/office/officeart/2005/8/layout/chevron1"/>
    <dgm:cxn modelId="{5CD9FABD-91D0-4597-B128-E70A4705D678}" type="presParOf" srcId="{7015A116-55CE-4362-936C-740DCCBFEBF9}" destId="{D0FE846D-279A-4276-A5C3-B509AC132ECC}" srcOrd="0" destOrd="0" presId="urn:microsoft.com/office/officeart/2005/8/layout/chevron1"/>
    <dgm:cxn modelId="{B1576B45-F445-459F-94E0-68289EB82DFC}" type="presParOf" srcId="{7015A116-55CE-4362-936C-740DCCBFEBF9}" destId="{ED2BAE49-531C-4732-9650-DA8815920DEE}" srcOrd="1" destOrd="0" presId="urn:microsoft.com/office/officeart/2005/8/layout/chevron1"/>
    <dgm:cxn modelId="{31226834-15EC-4D5E-B450-362D93773E8F}" type="presParOf" srcId="{D3E683E2-F6A1-4C4E-A3DF-491DDF38B456}" destId="{4E985DFA-0EBB-48FC-8B40-831E5DC28B8C}" srcOrd="1" destOrd="0" presId="urn:microsoft.com/office/officeart/2005/8/layout/chevron1"/>
    <dgm:cxn modelId="{2D5F78D3-B2AD-4A33-A900-832BF268904D}" type="presParOf" srcId="{D3E683E2-F6A1-4C4E-A3DF-491DDF38B456}" destId="{249F6688-A8FE-46D8-9054-68283178EF17}" srcOrd="2" destOrd="0" presId="urn:microsoft.com/office/officeart/2005/8/layout/chevron1"/>
    <dgm:cxn modelId="{B6FEB902-778F-41E7-8409-98EB7E6D5846}" type="presParOf" srcId="{249F6688-A8FE-46D8-9054-68283178EF17}" destId="{A3CF6912-C3AF-4157-9746-5A9482CBADC8}" srcOrd="0" destOrd="0" presId="urn:microsoft.com/office/officeart/2005/8/layout/chevron1"/>
    <dgm:cxn modelId="{E9CED225-6791-45DC-A971-D19D53AABDA2}" type="presParOf" srcId="{249F6688-A8FE-46D8-9054-68283178EF17}" destId="{610AC77E-2BA8-4AE2-9987-E3215EEB354E}" srcOrd="1" destOrd="0" presId="urn:microsoft.com/office/officeart/2005/8/layout/chevron1"/>
    <dgm:cxn modelId="{3D0302D7-7279-49CD-BC6C-8CEAF4CA9FD6}" type="presParOf" srcId="{D3E683E2-F6A1-4C4E-A3DF-491DDF38B456}" destId="{3989AAC1-2B75-47D6-892B-0773ACC1087C}" srcOrd="3" destOrd="0" presId="urn:microsoft.com/office/officeart/2005/8/layout/chevron1"/>
    <dgm:cxn modelId="{D694DCAA-A378-40EA-A645-6826519A5726}" type="presParOf" srcId="{D3E683E2-F6A1-4C4E-A3DF-491DDF38B456}" destId="{A6B8CFBB-AFDB-43C6-9CF1-731F55F78383}" srcOrd="4" destOrd="0" presId="urn:microsoft.com/office/officeart/2005/8/layout/chevron1"/>
    <dgm:cxn modelId="{3AD08D61-EC44-449B-99FB-AF5460BA313A}" type="presParOf" srcId="{A6B8CFBB-AFDB-43C6-9CF1-731F55F78383}" destId="{BE033B66-E151-421C-B978-5349FBBF97ED}" srcOrd="0" destOrd="0" presId="urn:microsoft.com/office/officeart/2005/8/layout/chevron1"/>
    <dgm:cxn modelId="{ACC21353-D0BA-460B-8FEA-BD848F908722}" type="presParOf" srcId="{A6B8CFBB-AFDB-43C6-9CF1-731F55F78383}" destId="{275D49AD-3A72-4D54-9DB3-E7226CA70C85}" srcOrd="1" destOrd="0" presId="urn:microsoft.com/office/officeart/2005/8/layout/chevron1"/>
    <dgm:cxn modelId="{E14B965C-DE77-46C7-922A-2283C0D2CBC4}" type="presParOf" srcId="{D3E683E2-F6A1-4C4E-A3DF-491DDF38B456}" destId="{5DE30BEC-7FAD-4E2B-B290-B8C2A263ABDC}" srcOrd="5" destOrd="0" presId="urn:microsoft.com/office/officeart/2005/8/layout/chevron1"/>
    <dgm:cxn modelId="{506A8C4B-C9B8-4E26-A08B-8E2AE90099B2}" type="presParOf" srcId="{D3E683E2-F6A1-4C4E-A3DF-491DDF38B456}" destId="{7FAC36CF-89BC-4684-9CDB-F46C083DAA3F}" srcOrd="6" destOrd="0" presId="urn:microsoft.com/office/officeart/2005/8/layout/chevron1"/>
    <dgm:cxn modelId="{1645BA0C-811F-4014-8902-12A364853D47}" type="presParOf" srcId="{7FAC36CF-89BC-4684-9CDB-F46C083DAA3F}" destId="{2DFCB3ED-5C91-43AB-9808-E968E4DA7DC8}" srcOrd="0" destOrd="0" presId="urn:microsoft.com/office/officeart/2005/8/layout/chevron1"/>
    <dgm:cxn modelId="{7B070A76-2031-4B99-A700-5D97FE2C39FB}" type="presParOf" srcId="{7FAC36CF-89BC-4684-9CDB-F46C083DAA3F}" destId="{13A7555E-CF10-4008-AA3D-A67EC16CECC0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20A61C-590E-4A44-96EE-A7AACD40C0E0}">
      <dsp:nvSpPr>
        <dsp:cNvPr id="0" name=""/>
        <dsp:cNvSpPr/>
      </dsp:nvSpPr>
      <dsp:spPr>
        <a:xfrm>
          <a:off x="6358" y="444351"/>
          <a:ext cx="2427118" cy="91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Solution Page Request </a:t>
          </a:r>
        </a:p>
      </dsp:txBody>
      <dsp:txXfrm>
        <a:off x="465358" y="444351"/>
        <a:ext cx="1509118" cy="918000"/>
      </dsp:txXfrm>
    </dsp:sp>
    <dsp:sp modelId="{8F24694D-B616-4D21-890D-7E0449172777}">
      <dsp:nvSpPr>
        <dsp:cNvPr id="0" name=""/>
        <dsp:cNvSpPr/>
      </dsp:nvSpPr>
      <dsp:spPr>
        <a:xfrm>
          <a:off x="6358" y="1477101"/>
          <a:ext cx="1941694" cy="25842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700" kern="1200"/>
            <a:t>Request initiated by Marketer through </a:t>
          </a:r>
          <a:r>
            <a:rPr lang="en-IN" sz="1700" kern="1200">
              <a:hlinkClick xmlns:r="http://schemas.openxmlformats.org/officeDocument/2006/relationships" r:id="rId1"/>
            </a:rPr>
            <a:t>request form</a:t>
          </a:r>
          <a:endParaRPr lang="en-US" sz="1700" kern="1200"/>
        </a:p>
      </dsp:txBody>
      <dsp:txXfrm>
        <a:off x="6358" y="1477101"/>
        <a:ext cx="1941694" cy="2584265"/>
      </dsp:txXfrm>
    </dsp:sp>
    <dsp:sp modelId="{B9B42FBE-AC2A-45EF-BAEB-B2575A5C3914}">
      <dsp:nvSpPr>
        <dsp:cNvPr id="0" name=""/>
        <dsp:cNvSpPr/>
      </dsp:nvSpPr>
      <dsp:spPr>
        <a:xfrm>
          <a:off x="2217477" y="444351"/>
          <a:ext cx="2427118" cy="91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Review Stage</a:t>
          </a:r>
        </a:p>
      </dsp:txBody>
      <dsp:txXfrm>
        <a:off x="2676477" y="444351"/>
        <a:ext cx="1509118" cy="918000"/>
      </dsp:txXfrm>
    </dsp:sp>
    <dsp:sp modelId="{FB7B25F2-A650-4454-912C-204E86683DE8}">
      <dsp:nvSpPr>
        <dsp:cNvPr id="0" name=""/>
        <dsp:cNvSpPr/>
      </dsp:nvSpPr>
      <dsp:spPr>
        <a:xfrm>
          <a:off x="2217477" y="1477101"/>
          <a:ext cx="1941694" cy="25842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Team review the ticket and ensure all information are in place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Will reach out to Marketer if anything is missing/need further information.</a:t>
          </a:r>
        </a:p>
      </dsp:txBody>
      <dsp:txXfrm>
        <a:off x="2217477" y="1477101"/>
        <a:ext cx="1941694" cy="2584265"/>
      </dsp:txXfrm>
    </dsp:sp>
    <dsp:sp modelId="{5CD96CD1-2A2E-4497-BA06-97A5ABEB4F61}">
      <dsp:nvSpPr>
        <dsp:cNvPr id="0" name=""/>
        <dsp:cNvSpPr/>
      </dsp:nvSpPr>
      <dsp:spPr>
        <a:xfrm>
          <a:off x="4428596" y="444351"/>
          <a:ext cx="2427118" cy="91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/>
            <a:t>Page Setup Initiated</a:t>
          </a:r>
          <a:endParaRPr lang="en-US" sz="1700" kern="1200"/>
        </a:p>
      </dsp:txBody>
      <dsp:txXfrm>
        <a:off x="4887596" y="444351"/>
        <a:ext cx="1509118" cy="918000"/>
      </dsp:txXfrm>
    </dsp:sp>
    <dsp:sp modelId="{21EC75C5-B7CA-4ABC-82CE-5436C16D5559}">
      <dsp:nvSpPr>
        <dsp:cNvPr id="0" name=""/>
        <dsp:cNvSpPr/>
      </dsp:nvSpPr>
      <dsp:spPr>
        <a:xfrm>
          <a:off x="4428596" y="1477101"/>
          <a:ext cx="1941694" cy="25842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700" kern="1200"/>
            <a:t>Start building page based on information provided by marketer.</a:t>
          </a:r>
          <a:endParaRPr lang="en-US" sz="1700" kern="1200"/>
        </a:p>
      </dsp:txBody>
      <dsp:txXfrm>
        <a:off x="4428596" y="1477101"/>
        <a:ext cx="1941694" cy="2584265"/>
      </dsp:txXfrm>
    </dsp:sp>
    <dsp:sp modelId="{3F136E8E-18CE-441A-894F-FD56FBF9115B}">
      <dsp:nvSpPr>
        <dsp:cNvPr id="0" name=""/>
        <dsp:cNvSpPr/>
      </dsp:nvSpPr>
      <dsp:spPr>
        <a:xfrm>
          <a:off x="6639714" y="444351"/>
          <a:ext cx="2427118" cy="91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Review with Marketer</a:t>
          </a:r>
        </a:p>
      </dsp:txBody>
      <dsp:txXfrm>
        <a:off x="7098714" y="444351"/>
        <a:ext cx="1509118" cy="918000"/>
      </dsp:txXfrm>
    </dsp:sp>
    <dsp:sp modelId="{E5A62F5E-1C39-44BE-9E9E-3198A320B06D}">
      <dsp:nvSpPr>
        <dsp:cNvPr id="0" name=""/>
        <dsp:cNvSpPr/>
      </dsp:nvSpPr>
      <dsp:spPr>
        <a:xfrm>
          <a:off x="6639714" y="1477101"/>
          <a:ext cx="1941694" cy="25842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700" kern="1200"/>
            <a:t>Preview links will be shared to get feedback/approval</a:t>
          </a: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700" kern="1200"/>
            <a:t>Update the page based on feedback</a:t>
          </a:r>
          <a:endParaRPr lang="en-US" sz="1700" kern="1200"/>
        </a:p>
      </dsp:txBody>
      <dsp:txXfrm>
        <a:off x="6639714" y="1477101"/>
        <a:ext cx="1941694" cy="2584265"/>
      </dsp:txXfrm>
    </dsp:sp>
    <dsp:sp modelId="{8B6B9EF5-C012-4FFE-8B33-5B03BDF21DE8}">
      <dsp:nvSpPr>
        <dsp:cNvPr id="0" name=""/>
        <dsp:cNvSpPr/>
      </dsp:nvSpPr>
      <dsp:spPr>
        <a:xfrm>
          <a:off x="8850833" y="444351"/>
          <a:ext cx="2427118" cy="91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Publish to live</a:t>
          </a:r>
        </a:p>
      </dsp:txBody>
      <dsp:txXfrm>
        <a:off x="9309833" y="444351"/>
        <a:ext cx="1509118" cy="918000"/>
      </dsp:txXfrm>
    </dsp:sp>
    <dsp:sp modelId="{22225402-1364-4169-B445-A715F7568F62}">
      <dsp:nvSpPr>
        <dsp:cNvPr id="0" name=""/>
        <dsp:cNvSpPr/>
      </dsp:nvSpPr>
      <dsp:spPr>
        <a:xfrm>
          <a:off x="8850833" y="1477101"/>
          <a:ext cx="1941694" cy="25842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Once we get the final approval will take the page to live environment.</a:t>
          </a:r>
        </a:p>
      </dsp:txBody>
      <dsp:txXfrm>
        <a:off x="8850833" y="1477101"/>
        <a:ext cx="1941694" cy="258426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FE846D-279A-4276-A5C3-B509AC132ECC}">
      <dsp:nvSpPr>
        <dsp:cNvPr id="0" name=""/>
        <dsp:cNvSpPr/>
      </dsp:nvSpPr>
      <dsp:spPr>
        <a:xfrm>
          <a:off x="4424" y="850914"/>
          <a:ext cx="2980865" cy="1192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marL="0" lvl="0" indent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Asset Ticket</a:t>
          </a:r>
          <a:endParaRPr lang="en-US" sz="2600" kern="1200">
            <a:solidFill>
              <a:srgbClr val="444444"/>
            </a:solidFill>
            <a:latin typeface="Arial" panose="020B0604020202020204"/>
            <a:ea typeface="Calibri"/>
            <a:cs typeface="Arial" panose="020B0604020202020204"/>
          </a:endParaRPr>
        </a:p>
      </dsp:txBody>
      <dsp:txXfrm>
        <a:off x="600597" y="850914"/>
        <a:ext cx="1788519" cy="1192346"/>
      </dsp:txXfrm>
    </dsp:sp>
    <dsp:sp modelId="{ED2BAE49-531C-4732-9650-DA8815920DEE}">
      <dsp:nvSpPr>
        <dsp:cNvPr id="0" name=""/>
        <dsp:cNvSpPr/>
      </dsp:nvSpPr>
      <dsp:spPr>
        <a:xfrm>
          <a:off x="4424" y="2192304"/>
          <a:ext cx="2384692" cy="146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26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Request initiated by Marketer through VIA</a:t>
          </a:r>
          <a:endParaRPr lang="en-US" sz="2600" kern="1200">
            <a:solidFill>
              <a:srgbClr val="444444"/>
            </a:solidFill>
            <a:latin typeface="Calibri"/>
            <a:ea typeface="Calibri"/>
            <a:cs typeface="Calibri"/>
          </a:endParaRPr>
        </a:p>
      </dsp:txBody>
      <dsp:txXfrm>
        <a:off x="4424" y="2192304"/>
        <a:ext cx="2384692" cy="1462500"/>
      </dsp:txXfrm>
    </dsp:sp>
    <dsp:sp modelId="{A3CF6912-C3AF-4157-9746-5A9482CBADC8}">
      <dsp:nvSpPr>
        <dsp:cNvPr id="0" name=""/>
        <dsp:cNvSpPr/>
      </dsp:nvSpPr>
      <dsp:spPr>
        <a:xfrm>
          <a:off x="2769290" y="850914"/>
          <a:ext cx="2980865" cy="1192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marL="0" lvl="0" indent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Creative Service Team</a:t>
          </a:r>
          <a:endParaRPr lang="en-US" sz="2600" kern="1200">
            <a:solidFill>
              <a:srgbClr val="444444"/>
            </a:solidFill>
          </a:endParaRPr>
        </a:p>
      </dsp:txBody>
      <dsp:txXfrm>
        <a:off x="3365463" y="850914"/>
        <a:ext cx="1788519" cy="1192346"/>
      </dsp:txXfrm>
    </dsp:sp>
    <dsp:sp modelId="{610AC77E-2BA8-4AE2-9987-E3215EEB354E}">
      <dsp:nvSpPr>
        <dsp:cNvPr id="0" name=""/>
        <dsp:cNvSpPr/>
      </dsp:nvSpPr>
      <dsp:spPr>
        <a:xfrm>
          <a:off x="2769290" y="2192304"/>
          <a:ext cx="2384692" cy="146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228600" lvl="1" indent="-228600" algn="l" defTabSz="11557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26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Uploads assets to </a:t>
          </a:r>
          <a:r>
            <a:rPr lang="en-IN" sz="2600" kern="1200" err="1">
              <a:solidFill>
                <a:srgbClr val="444444"/>
              </a:solidFill>
              <a:latin typeface="Calibri"/>
              <a:ea typeface="Calibri"/>
              <a:cs typeface="Calibri"/>
            </a:rPr>
            <a:t>Brandworld</a:t>
          </a:r>
          <a:endParaRPr lang="en-IN" sz="2600" kern="1200">
            <a:solidFill>
              <a:srgbClr val="444444"/>
            </a:solidFill>
            <a:latin typeface="Calibri"/>
            <a:ea typeface="Calibri"/>
            <a:cs typeface="Calibri"/>
          </a:endParaRPr>
        </a:p>
      </dsp:txBody>
      <dsp:txXfrm>
        <a:off x="2769290" y="2192304"/>
        <a:ext cx="2384692" cy="1462500"/>
      </dsp:txXfrm>
    </dsp:sp>
    <dsp:sp modelId="{BE033B66-E151-421C-B978-5349FBBF97ED}">
      <dsp:nvSpPr>
        <dsp:cNvPr id="0" name=""/>
        <dsp:cNvSpPr/>
      </dsp:nvSpPr>
      <dsp:spPr>
        <a:xfrm>
          <a:off x="5534155" y="850914"/>
          <a:ext cx="2980865" cy="1192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marL="0" lvl="0" indent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Web Ops Team</a:t>
          </a:r>
        </a:p>
      </dsp:txBody>
      <dsp:txXfrm>
        <a:off x="6130328" y="850914"/>
        <a:ext cx="1788519" cy="1192346"/>
      </dsp:txXfrm>
    </dsp:sp>
    <dsp:sp modelId="{275D49AD-3A72-4D54-9DB3-E7226CA70C85}">
      <dsp:nvSpPr>
        <dsp:cNvPr id="0" name=""/>
        <dsp:cNvSpPr/>
      </dsp:nvSpPr>
      <dsp:spPr>
        <a:xfrm>
          <a:off x="5534155" y="2192304"/>
          <a:ext cx="2384692" cy="146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228600" lvl="1" indent="-228600" algn="l" defTabSz="11557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26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Creates asset web page in IQVIA.com</a:t>
          </a:r>
        </a:p>
      </dsp:txBody>
      <dsp:txXfrm>
        <a:off x="5534155" y="2192304"/>
        <a:ext cx="2384692" cy="1462500"/>
      </dsp:txXfrm>
    </dsp:sp>
    <dsp:sp modelId="{2DFCB3ED-5C91-43AB-9808-E968E4DA7DC8}">
      <dsp:nvSpPr>
        <dsp:cNvPr id="0" name=""/>
        <dsp:cNvSpPr/>
      </dsp:nvSpPr>
      <dsp:spPr>
        <a:xfrm>
          <a:off x="8299020" y="850914"/>
          <a:ext cx="2980865" cy="1192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marL="0" lvl="0" indent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>
              <a:solidFill>
                <a:srgbClr val="444444"/>
              </a:solidFill>
              <a:latin typeface="Calibri"/>
              <a:ea typeface="Calibri"/>
              <a:cs typeface="Calibri"/>
            </a:rPr>
            <a:t>Sales Spot Team</a:t>
          </a:r>
        </a:p>
      </dsp:txBody>
      <dsp:txXfrm>
        <a:off x="8895193" y="850914"/>
        <a:ext cx="1788519" cy="1192346"/>
      </dsp:txXfrm>
    </dsp:sp>
    <dsp:sp modelId="{13A7555E-CF10-4008-AA3D-A67EC16CECC0}">
      <dsp:nvSpPr>
        <dsp:cNvPr id="0" name=""/>
        <dsp:cNvSpPr/>
      </dsp:nvSpPr>
      <dsp:spPr>
        <a:xfrm>
          <a:off x="8299020" y="2192304"/>
          <a:ext cx="2384692" cy="146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228600" lvl="1" indent="-228600" algn="l" defTabSz="11557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2600" kern="1200">
              <a:solidFill>
                <a:srgbClr val="000000"/>
              </a:solidFill>
              <a:latin typeface="Calibri"/>
              <a:ea typeface="Calibri"/>
              <a:cs typeface="Calibri"/>
            </a:rPr>
            <a:t>Uploads assets to </a:t>
          </a:r>
          <a:r>
            <a:rPr lang="en-IN" sz="2600" kern="1200">
              <a:latin typeface="Calibri"/>
              <a:ea typeface="Calibri"/>
              <a:cs typeface="Calibri"/>
            </a:rPr>
            <a:t>Sales Spot</a:t>
          </a:r>
          <a:endParaRPr lang="en-US" sz="2600" kern="1200"/>
        </a:p>
      </dsp:txBody>
      <dsp:txXfrm>
        <a:off x="8299020" y="2192304"/>
        <a:ext cx="2384692" cy="14625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2/6/2025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2/6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45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5825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57206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326933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6957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9" r:id="rId5"/>
    <p:sldLayoutId id="2147484280" r:id="rId6"/>
    <p:sldLayoutId id="2147484288" r:id="rId7"/>
    <p:sldLayoutId id="2147484289" r:id="rId8"/>
    <p:sldLayoutId id="2147484290" r:id="rId9"/>
    <p:sldLayoutId id="2147484291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81" r:id="rId28"/>
    <p:sldLayoutId id="2147484282" r:id="rId29"/>
    <p:sldLayoutId id="2147484283" r:id="rId30"/>
    <p:sldLayoutId id="2147484284" r:id="rId31"/>
    <p:sldLayoutId id="2147484285" r:id="rId32"/>
    <p:sldLayoutId id="2147484286" r:id="rId33"/>
    <p:sldLayoutId id="214748428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2d7601d89bf543c2b56545072349f957?elqTrackId=8d2cf6eea8e648ddb39140a68aec9e20&amp;elqaid=1251&amp;elqat=2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9537ceb2a72342fd865048c01f9d3691" TargetMode="External"/><Relationship Id="rId2" Type="http://schemas.openxmlformats.org/officeDocument/2006/relationships/hyperlink" Target="https://secure.constellation.iqvia.com/MarketingAutomationToolbox" TargetMode="Externa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6.png"/><Relationship Id="rId4" Type="http://schemas.openxmlformats.org/officeDocument/2006/relationships/hyperlink" Target="mailto:web.support@iqvia.com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brandworld.iqvia.com/media/?mediaId=B040F569-7F9D-4617-847CEED12E6D78DB&amp;viewType=grid" TargetMode="Externa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quintiles.service-now.com/via?id=sc_cat_item&amp;sys_id=b0b41de3dbe8e700e50254a8dc9619e3&amp;sysparm_category=e5fa8ef3db206b00fb245aa8dc9619e5" TargetMode="Externa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Relationship Id="rId9" Type="http://schemas.openxmlformats.org/officeDocument/2006/relationships/image" Target="../media/image2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3FFB10-878E-0CD7-8E95-6DD7C8C36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Marketing Operations: Activation Pill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6C5644-711A-25EC-9948-82810157AC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Optimizing Website Request Intake: An In-Depth Analysis</a:t>
            </a:r>
            <a:endParaRPr lang="en-US" sz="320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8B7218-A6B8-C2AD-C0AF-80A762D3B8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Irfan Khan &amp; Hari Kiran </a:t>
            </a:r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2383FBA-D8BA-02C1-7904-FD1779DDE0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934667"/>
            <a:ext cx="6707945" cy="4994125"/>
          </a:xfrm>
        </p:spPr>
        <p:txBody>
          <a:bodyPr lIns="91440" tIns="45720" rIns="91440" bIns="45720" anchor="t"/>
          <a:lstStyle/>
          <a:p>
            <a:r>
              <a:rPr lang="en-US">
                <a:solidFill>
                  <a:srgbClr val="000000"/>
                </a:solidFill>
              </a:rPr>
              <a:t>Make sure the asset is brand approved.</a:t>
            </a:r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r>
              <a:rPr lang="en-US">
                <a:solidFill>
                  <a:srgbClr val="000000"/>
                </a:solidFill>
              </a:rPr>
              <a:t>To Add New Asset page:</a:t>
            </a:r>
            <a:endParaRPr lang="en-US">
              <a:solidFill>
                <a:srgbClr val="000000"/>
              </a:solidFill>
              <a:cs typeface="Arial" panose="020B0604020202020204"/>
            </a:endParaRPr>
          </a:p>
          <a:p>
            <a:pPr lvl="1"/>
            <a:r>
              <a:rPr lang="en-US">
                <a:solidFill>
                  <a:srgbClr val="000000"/>
                </a:solidFill>
              </a:rPr>
              <a:t>Make sure to provide SEO keywords and description to be included so the page can rank better on search platform.</a:t>
            </a:r>
            <a:endParaRPr lang="en-US">
              <a:solidFill>
                <a:srgbClr val="000000"/>
              </a:solidFill>
              <a:cs typeface="Arial" panose="020B0604020202020204"/>
            </a:endParaRPr>
          </a:p>
          <a:p>
            <a:pPr lvl="1"/>
            <a:r>
              <a:rPr lang="en-US">
                <a:solidFill>
                  <a:srgbClr val="000000"/>
                </a:solidFill>
              </a:rPr>
              <a:t>Featured image to be provided from Brand World.</a:t>
            </a:r>
            <a:endParaRPr lang="en-US">
              <a:solidFill>
                <a:srgbClr val="000000"/>
              </a:solidFill>
              <a:cs typeface="Arial"/>
            </a:endParaRPr>
          </a:p>
          <a:p>
            <a:pPr lvl="1"/>
            <a:r>
              <a:rPr lang="en-US">
                <a:solidFill>
                  <a:srgbClr val="000000"/>
                </a:solidFill>
                <a:cs typeface="Arial"/>
              </a:rPr>
              <a:t>Appropriate tagging and taxonomy must be provided.</a:t>
            </a:r>
          </a:p>
          <a:p>
            <a:pPr lvl="1"/>
            <a:endParaRPr lang="en-US">
              <a:solidFill>
                <a:srgbClr val="000000"/>
              </a:solidFill>
              <a:cs typeface="Arial"/>
            </a:endParaRPr>
          </a:p>
          <a:p>
            <a:r>
              <a:rPr lang="en-US">
                <a:solidFill>
                  <a:srgbClr val="000000"/>
                </a:solidFill>
                <a:cs typeface="Arial"/>
              </a:rPr>
              <a:t>Asset headline and subtitle to be provided under character limit.</a:t>
            </a:r>
          </a:p>
          <a:p>
            <a:pPr lvl="1"/>
            <a:r>
              <a:rPr lang="en-US">
                <a:solidFill>
                  <a:srgbClr val="000000"/>
                </a:solidFill>
                <a:cs typeface="Arial"/>
              </a:rPr>
              <a:t>Headline: 82 Character</a:t>
            </a:r>
          </a:p>
          <a:p>
            <a:pPr lvl="1"/>
            <a:r>
              <a:rPr lang="en-US">
                <a:solidFill>
                  <a:srgbClr val="000000"/>
                </a:solidFill>
                <a:cs typeface="Arial"/>
              </a:rPr>
              <a:t>Subtitle: 250 Character</a:t>
            </a:r>
          </a:p>
          <a:p>
            <a:pPr lvl="1"/>
            <a:endParaRPr lang="en-US">
              <a:solidFill>
                <a:srgbClr val="000000"/>
              </a:solidFill>
              <a:cs typeface="Arial"/>
            </a:endParaRPr>
          </a:p>
          <a:p>
            <a:r>
              <a:rPr lang="en-US">
                <a:solidFill>
                  <a:srgbClr val="000000"/>
                </a:solidFill>
                <a:cs typeface="Arial"/>
              </a:rPr>
              <a:t>To Remove an Asset: Relevant redirect link to be provided</a:t>
            </a: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r>
              <a:rPr lang="en-US">
                <a:solidFill>
                  <a:srgbClr val="000000"/>
                </a:solidFill>
                <a:cs typeface="Arial"/>
              </a:rPr>
              <a:t>To Replace an Asset: PDF and asset page link to be provided.</a:t>
            </a:r>
            <a:endParaRPr lang="en-US">
              <a:solidFill>
                <a:srgbClr val="2B3A42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 marL="182880"/>
            <a:endParaRPr lang="en-US">
              <a:solidFill>
                <a:srgbClr val="000000"/>
              </a:solidFill>
              <a:cs typeface="Arial"/>
            </a:endParaRPr>
          </a:p>
          <a:p>
            <a:pPr marL="182880"/>
            <a:endParaRPr lang="en-US">
              <a:solidFill>
                <a:srgbClr val="000000"/>
              </a:solidFill>
              <a:cs typeface="Arial"/>
            </a:endParaRPr>
          </a:p>
          <a:p>
            <a:pPr marL="182880" lvl="1" indent="0">
              <a:buNone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lvl="1"/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pPr marL="0" indent="0">
              <a:buNone/>
            </a:pPr>
            <a:endParaRPr lang="en-US">
              <a:solidFill>
                <a:srgbClr val="000000"/>
              </a:solidFill>
              <a:cs typeface="Arial"/>
            </a:endParaRPr>
          </a:p>
          <a:p>
            <a:pPr marL="0" indent="0">
              <a:buNone/>
            </a:pPr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6CF0BE4-BD20-8F6B-6830-76CCBDE28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1391"/>
            <a:ext cx="11338560" cy="768263"/>
          </a:xfrm>
        </p:spPr>
        <p:txBody>
          <a:bodyPr lIns="91440" tIns="45720" rIns="91440" bIns="45720" anchor="b" anchorCtr="0"/>
          <a:lstStyle/>
          <a:p>
            <a:r>
              <a:rPr lang="en-US"/>
              <a:t>Best Practice: Content creation on Website</a:t>
            </a:r>
          </a:p>
        </p:txBody>
      </p:sp>
      <p:pic>
        <p:nvPicPr>
          <p:cNvPr id="2" name="Picture 1" descr="A group of people looking at sticky notes on a glass wall&#10;&#10;AI-generated content may be incorrect.">
            <a:extLst>
              <a:ext uri="{FF2B5EF4-FFF2-40B4-BE49-F238E27FC236}">
                <a16:creationId xmlns:a16="http://schemas.microsoft.com/office/drawing/2014/main" id="{166AB863-4011-4BC4-2502-6C17302A2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3227" y="1454170"/>
            <a:ext cx="4646706" cy="3102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116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520014-3EDB-7815-2535-3630ADC7CE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11">
            <a:extLst>
              <a:ext uri="{FF2B5EF4-FFF2-40B4-BE49-F238E27FC236}">
                <a16:creationId xmlns:a16="http://schemas.microsoft.com/office/drawing/2014/main" id="{60F2DC18-5CE9-1F2E-1C0F-14364BB1F4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2187825"/>
              </p:ext>
            </p:extLst>
          </p:nvPr>
        </p:nvGraphicFramePr>
        <p:xfrm>
          <a:off x="356152" y="1058909"/>
          <a:ext cx="11284311" cy="45057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1" name="TextBox 60">
            <a:extLst>
              <a:ext uri="{FF2B5EF4-FFF2-40B4-BE49-F238E27FC236}">
                <a16:creationId xmlns:a16="http://schemas.microsoft.com/office/drawing/2014/main" id="{5CB846B0-E7E7-7748-5AFF-EA39F4CA3D7D}"/>
              </a:ext>
            </a:extLst>
          </p:cNvPr>
          <p:cNvSpPr txBox="1"/>
          <p:nvPr/>
        </p:nvSpPr>
        <p:spPr>
          <a:xfrm>
            <a:off x="302003" y="302003"/>
            <a:ext cx="1156841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i="0" u="none" strike="noStrike">
                <a:solidFill>
                  <a:srgbClr val="2B3A42"/>
                </a:solidFill>
                <a:effectLst/>
                <a:latin typeface="Arial"/>
                <a:cs typeface="Arial"/>
              </a:rPr>
              <a:t>High level steps for a new </a:t>
            </a:r>
            <a:r>
              <a:rPr lang="en-US" sz="2400" b="1">
                <a:solidFill>
                  <a:srgbClr val="2B3A42"/>
                </a:solidFill>
                <a:latin typeface="Arial"/>
                <a:cs typeface="Arial"/>
              </a:rPr>
              <a:t>asset page creation</a:t>
            </a:r>
            <a:endParaRPr lang="en-US" sz="2400" b="1">
              <a:solidFill>
                <a:srgbClr val="2B3A4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4713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8BCFF56-DE37-87F9-228F-26B5E2ABC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99142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4972565-B463-4A0D-AE01-73E66F414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r>
              <a:rPr lang="en-US"/>
              <a:t>Welcome</a:t>
            </a:r>
          </a:p>
          <a:p>
            <a:r>
              <a:rPr lang="en-US"/>
              <a:t>Introduction to Website Request Intake form - Smartsheet</a:t>
            </a:r>
            <a:endParaRPr lang="en-US">
              <a:cs typeface="Arial"/>
            </a:endParaRPr>
          </a:p>
          <a:p>
            <a:r>
              <a:rPr lang="en-US"/>
              <a:t>Best Practice: Content creation on Website</a:t>
            </a:r>
          </a:p>
          <a:p>
            <a:r>
              <a:rPr lang="en-US"/>
              <a:t>Website Request Process</a:t>
            </a:r>
            <a:endParaRPr lang="en-US">
              <a:cs typeface="Arial"/>
            </a:endParaRPr>
          </a:p>
          <a:p>
            <a:r>
              <a:rPr lang="en-US"/>
              <a:t>Introduction to Asset Request Intake form VIA/Service-now</a:t>
            </a:r>
            <a:endParaRPr lang="en-US">
              <a:cs typeface="Arial"/>
            </a:endParaRPr>
          </a:p>
          <a:p>
            <a:r>
              <a:rPr lang="en-US"/>
              <a:t>Asset Types and Best Practice</a:t>
            </a:r>
            <a:endParaRPr lang="en-US">
              <a:cs typeface="Arial"/>
            </a:endParaRPr>
          </a:p>
          <a:p>
            <a:r>
              <a:rPr lang="en-US"/>
              <a:t>Q&amp;A</a:t>
            </a:r>
            <a:endParaRPr lang="en-US">
              <a:cs typeface="Arial"/>
            </a:endParaRP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2B8B85-2E5A-4FD5-B022-868DF0E37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659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C83875-BE3D-467D-B2CE-37C26280C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5501201" cy="4994125"/>
          </a:xfrm>
        </p:spPr>
        <p:txBody>
          <a:bodyPr/>
          <a:lstStyle/>
          <a:p>
            <a:r>
              <a:rPr lang="en-US"/>
              <a:t>Get your questions answered by the marketing operations team. Open Office Hours are held monthly with the following agenda:</a:t>
            </a:r>
          </a:p>
          <a:p>
            <a:pPr lvl="1"/>
            <a:r>
              <a:rPr lang="en-US"/>
              <a:t>Learn about a tip or best practice  </a:t>
            </a:r>
          </a:p>
          <a:p>
            <a:pPr lvl="1"/>
            <a:r>
              <a:rPr lang="en-US"/>
              <a:t>Ask a question – Pre-submit your questions </a:t>
            </a:r>
            <a:r>
              <a:rPr lang="en-US" u="sng">
                <a:hlinkClick r:id="rId2"/>
              </a:rPr>
              <a:t>here</a:t>
            </a:r>
            <a:r>
              <a:rPr lang="en-US" u="sng"/>
              <a:t> </a:t>
            </a:r>
            <a:r>
              <a:rPr lang="en-US"/>
              <a:t>or ask during the office hours</a:t>
            </a:r>
            <a:endParaRPr lang="en-US">
              <a:cs typeface="Arial"/>
            </a:endParaRPr>
          </a:p>
          <a:p>
            <a:pPr lvl="1"/>
            <a:r>
              <a:rPr lang="en-US"/>
              <a:t>Learn how to leverage IQVIA’s marketing systems and processes most effectively</a:t>
            </a:r>
            <a:endParaRPr lang="en-US">
              <a:cs typeface="Arial"/>
            </a:endParaRPr>
          </a:p>
          <a:p>
            <a:pPr lvl="1"/>
            <a:endParaRPr lang="en-US"/>
          </a:p>
          <a:p>
            <a:r>
              <a:rPr lang="en-US" b="1" u="sng"/>
              <a:t>Action:</a:t>
            </a:r>
            <a:r>
              <a:rPr lang="en-US" b="1"/>
              <a:t> </a:t>
            </a:r>
            <a:r>
              <a:rPr lang="en-US"/>
              <a:t>Sign up </a:t>
            </a:r>
            <a:r>
              <a:rPr lang="en-US">
                <a:hlinkClick r:id="rId3"/>
              </a:rPr>
              <a:t>here</a:t>
            </a:r>
            <a:r>
              <a:rPr lang="en-US"/>
              <a:t>, if you need to be added to the outlook invite</a:t>
            </a:r>
            <a:endParaRPr lang="en-US">
              <a:cs typeface="Arial"/>
            </a:endParaRPr>
          </a:p>
          <a:p>
            <a:endParaRPr lang="en-GB"/>
          </a:p>
          <a:p>
            <a:r>
              <a:rPr lang="en-US" b="1" u="sng">
                <a:cs typeface="Arial"/>
              </a:rPr>
              <a:t>Reminder: </a:t>
            </a:r>
            <a:r>
              <a:rPr lang="en-US">
                <a:cs typeface="Arial"/>
              </a:rPr>
              <a:t>Save your questions for the end or enter in the chat. We will address as many as we can!</a:t>
            </a:r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366DA9-F784-418C-B439-6F6DAF88D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ing Operations Open Office Hours </a:t>
            </a:r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F36190-781E-4144-9865-7D0153FAF5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3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FED7DB0-8E7F-56AC-4093-BE855E4580DF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272121" y="1488896"/>
            <a:ext cx="5547575" cy="4993293"/>
          </a:xfrm>
        </p:spPr>
        <p:txBody>
          <a:bodyPr lIns="91440" tIns="45720" rIns="91440" bIns="45720" anchor="t"/>
          <a:lstStyle/>
          <a:p>
            <a:pPr indent="0"/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Firstly go to the </a:t>
            </a:r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  <a:hlinkClick r:id="rId2"/>
              </a:rPr>
              <a:t>Marketing Operations Toolbox</a:t>
            </a:r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</a:t>
            </a:r>
            <a:endParaRPr lang="en-US">
              <a:latin typeface="Arial"/>
              <a:cs typeface="Arial"/>
            </a:endParaRPr>
          </a:p>
          <a:p>
            <a:pPr indent="0"/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</a:rPr>
              <a:t>Complete this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  <a:hlinkClick r:id="rId3"/>
              </a:rPr>
              <a:t>form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</a:rPr>
              <a:t> to submit new website request to the Web Ops team.</a:t>
            </a:r>
            <a:endParaRPr lang="en-US">
              <a:latin typeface="Arial"/>
              <a:ea typeface="Roboto"/>
              <a:cs typeface="Arial"/>
            </a:endParaRPr>
          </a:p>
          <a:p>
            <a:pPr indent="0"/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Types of Webpage update requests:</a:t>
            </a:r>
          </a:p>
          <a:p>
            <a:pPr lvl="1" indent="0">
              <a:buFont typeface="Courier New" panose="02070309020205020404" pitchFamily="49" charset="0"/>
              <a:buChar char="o"/>
            </a:pPr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</a:rPr>
              <a:t>Create Page</a:t>
            </a:r>
          </a:p>
          <a:p>
            <a:pPr lvl="1" indent="0">
              <a:buFont typeface="Courier New" panose="02070309020205020404" pitchFamily="49" charset="0"/>
              <a:buChar char="o"/>
            </a:pPr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Update Page</a:t>
            </a:r>
          </a:p>
          <a:p>
            <a:pPr lvl="1" indent="0">
              <a:buFont typeface="Courier New" panose="02070309020205020404" pitchFamily="49" charset="0"/>
              <a:buChar char="o"/>
            </a:pPr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</a:rPr>
              <a:t>Create vanity URL</a:t>
            </a:r>
          </a:p>
          <a:p>
            <a:pPr lvl="1" indent="0">
              <a:buFont typeface="Courier New" panose="02070309020205020404" pitchFamily="49" charset="0"/>
              <a:buChar char="o"/>
            </a:pPr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</a:rPr>
              <a:t>Create and update Navigation </a:t>
            </a:r>
          </a:p>
          <a:p>
            <a:pPr indent="0"/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</a:rPr>
              <a:t>SLA - Requests are completed within five U.S. business days. </a:t>
            </a:r>
          </a:p>
          <a:p>
            <a:pPr indent="0"/>
            <a:r>
              <a:rPr lang="en-US">
                <a:solidFill>
                  <a:srgbClr val="000000"/>
                </a:solidFill>
                <a:latin typeface="Arial"/>
                <a:ea typeface="Roboto"/>
                <a:cs typeface="Arial"/>
              </a:rPr>
              <a:t>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</a:rPr>
              <a:t>Please contact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  <a:hlinkClick r:id="rId4"/>
              </a:rPr>
              <a:t>web.support@iqvia.com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Arial"/>
              </a:rPr>
              <a:t> if you have any additional questions.</a:t>
            </a:r>
          </a:p>
          <a:p>
            <a:endParaRPr lang="en-US">
              <a:latin typeface="Arial"/>
              <a:cs typeface="Arial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030050F-80B0-B3BC-3D8A-F81FDE6E4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 to Website Request Intake form - Smartshee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22A85E-C803-A2D1-139E-550CABB8C0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2511693"/>
            <a:ext cx="5553881" cy="24366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F625C0E1-5699-BF39-6140-A5C7934717FB}"/>
              </a:ext>
            </a:extLst>
          </p:cNvPr>
          <p:cNvSpPr/>
          <p:nvPr/>
        </p:nvSpPr>
        <p:spPr>
          <a:xfrm rot="18180000">
            <a:off x="8852075" y="2278343"/>
            <a:ext cx="530173" cy="238102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600" err="1"/>
          </a:p>
        </p:txBody>
      </p:sp>
    </p:spTree>
    <p:extLst>
      <p:ext uri="{BB962C8B-B14F-4D97-AF65-F5344CB8AC3E}">
        <p14:creationId xmlns:p14="http://schemas.microsoft.com/office/powerpoint/2010/main" val="212845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52CEC2-0D59-F7F1-674F-1B6F33525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6FC4E8E-3F97-2D00-FD5F-6D4BA0445828}"/>
              </a:ext>
            </a:extLst>
          </p:cNvPr>
          <p:cNvSpPr>
            <a:spLocks noGrp="1"/>
          </p:cNvSpPr>
          <p:nvPr>
            <p:ph idx="1"/>
          </p:nvPr>
        </p:nvSpPr>
        <p:spPr>
          <a:xfrm flipH="1">
            <a:off x="707079" y="1873662"/>
            <a:ext cx="5015131" cy="3880433"/>
          </a:xfrm>
        </p:spPr>
        <p:txBody>
          <a:bodyPr lIns="91440" tIns="45720" rIns="91440" bIns="45720" anchor="t"/>
          <a:lstStyle/>
          <a:p>
            <a:r>
              <a:rPr lang="en-US"/>
              <a:t>Make sure the content is approved and not a duplicate.</a:t>
            </a:r>
            <a:endParaRPr lang="en-US">
              <a:cs typeface="Arial"/>
            </a:endParaRPr>
          </a:p>
          <a:p>
            <a:r>
              <a:rPr lang="en-US"/>
              <a:t>Visit </a:t>
            </a:r>
            <a:r>
              <a:rPr lang="en-US">
                <a:hlinkClick r:id="rId2"/>
              </a:rPr>
              <a:t>webpage module templates</a:t>
            </a:r>
            <a:r>
              <a:rPr lang="en-US"/>
              <a:t> within brand world and select modules which suits your content.</a:t>
            </a:r>
            <a:endParaRPr lang="en-US">
              <a:cs typeface="Arial"/>
            </a:endParaRPr>
          </a:p>
          <a:p>
            <a:r>
              <a:rPr lang="en-US" b="1"/>
              <a:t>Page update:</a:t>
            </a:r>
            <a:r>
              <a:rPr lang="en-US"/>
              <a:t> Please provide ppt slides while changing design of the page instead a word doc/pdf.</a:t>
            </a:r>
            <a:endParaRPr lang="en-US">
              <a:cs typeface="Arial" panose="020B0604020202020204"/>
            </a:endParaRPr>
          </a:p>
          <a:p>
            <a:r>
              <a:rPr lang="en-US"/>
              <a:t>Use word document to provide plain text for Blogs, Events &amp; News pages.</a:t>
            </a:r>
            <a:endParaRPr lang="en-US">
              <a:cs typeface="Arial" panose="020B0604020202020204"/>
            </a:endParaRPr>
          </a:p>
          <a:p>
            <a:r>
              <a:rPr lang="en-US"/>
              <a:t>Make sure to use the correct form for your requirement.</a:t>
            </a:r>
            <a:endParaRPr lang="en-US">
              <a:cs typeface="Arial" panose="020B0604020202020204"/>
            </a:endParaRPr>
          </a:p>
          <a:p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4603E3-C824-6ECA-FE17-436488811B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 anchorCtr="0"/>
          <a:lstStyle/>
          <a:p>
            <a:r>
              <a:rPr lang="en-US"/>
              <a:t>Best Practice: Content creation on Websi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0653C3-8EBC-24C9-A818-8918947C8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group of people looking at sticky notes on a glass wall&#10;&#10;AI-generated content may be incorrect.">
            <a:extLst>
              <a:ext uri="{FF2B5EF4-FFF2-40B4-BE49-F238E27FC236}">
                <a16:creationId xmlns:a16="http://schemas.microsoft.com/office/drawing/2014/main" id="{DCFB39A1-4217-7BF8-E724-C3F6C0A14E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0584" y="1971241"/>
            <a:ext cx="4646706" cy="3102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02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A155-EAA9-8C0B-0850-6ABBE7B4F9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1" name="Content Placeholder 11">
            <a:extLst>
              <a:ext uri="{FF2B5EF4-FFF2-40B4-BE49-F238E27FC236}">
                <a16:creationId xmlns:a16="http://schemas.microsoft.com/office/drawing/2014/main" id="{8C06876C-00CE-7F06-83D2-C1CECA2A71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2637155"/>
              </p:ext>
            </p:extLst>
          </p:nvPr>
        </p:nvGraphicFramePr>
        <p:xfrm>
          <a:off x="453844" y="1176140"/>
          <a:ext cx="11284311" cy="45057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C6A99F66-7014-03C8-BBBE-A327A436B087}"/>
              </a:ext>
            </a:extLst>
          </p:cNvPr>
          <p:cNvSpPr txBox="1"/>
          <p:nvPr/>
        </p:nvSpPr>
        <p:spPr>
          <a:xfrm>
            <a:off x="302003" y="302003"/>
            <a:ext cx="115684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i="0" u="none" strike="noStrike">
                <a:solidFill>
                  <a:srgbClr val="2B3A42"/>
                </a:solidFill>
                <a:effectLst/>
                <a:latin typeface="Arial" panose="020B0604020202020204" pitchFamily="34" charset="0"/>
              </a:rPr>
              <a:t>High level steps for a new Page Creation/Update on website</a:t>
            </a:r>
            <a:r>
              <a:rPr lang="en-US" sz="24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2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83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5DFB0F1-F3D3-881D-70DB-C32B69E22F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 to Website Request Intake form – Service Now</a:t>
            </a:r>
          </a:p>
        </p:txBody>
      </p:sp>
    </p:spTree>
    <p:extLst>
      <p:ext uri="{BB962C8B-B14F-4D97-AF65-F5344CB8AC3E}">
        <p14:creationId xmlns:p14="http://schemas.microsoft.com/office/powerpoint/2010/main" val="35920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FED7DB0-8E7F-56AC-4093-BE855E4580DF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02004" y="1317072"/>
            <a:ext cx="5614809" cy="4963411"/>
          </a:xfrm>
        </p:spPr>
        <p:txBody>
          <a:bodyPr lIns="91440" tIns="45720" rIns="91440" bIns="45720" anchor="t"/>
          <a:lstStyle/>
          <a:p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Roboto"/>
              </a:rPr>
              <a:t>Complete this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Roboto"/>
                <a:hlinkClick r:id="rId2"/>
              </a:rPr>
              <a:t>form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Roboto"/>
              </a:rPr>
              <a:t> to submit </a:t>
            </a:r>
            <a:r>
              <a:rPr lang="en-US">
                <a:solidFill>
                  <a:srgbClr val="000000"/>
                </a:solidFill>
                <a:latin typeface="Arial"/>
                <a:ea typeface="Roboto"/>
                <a:cs typeface="Roboto"/>
              </a:rPr>
              <a:t>Asset page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Roboto"/>
              </a:rPr>
              <a:t> request to the Web Ops team.</a:t>
            </a:r>
            <a:endParaRPr lang="en-US">
              <a:solidFill>
                <a:srgbClr val="000000"/>
              </a:solidFill>
              <a:ea typeface="Roboto"/>
              <a:cs typeface="Roboto"/>
            </a:endParaRPr>
          </a:p>
          <a:p>
            <a:endParaRPr lang="en-US">
              <a:solidFill>
                <a:srgbClr val="000000"/>
              </a:solidFill>
              <a:ea typeface="Roboto"/>
              <a:cs typeface="Arial"/>
            </a:endParaRPr>
          </a:p>
          <a:p>
            <a:r>
              <a:rPr lang="en-US">
                <a:solidFill>
                  <a:srgbClr val="000000"/>
                </a:solidFill>
                <a:ea typeface="Roboto"/>
                <a:cs typeface="Arial"/>
              </a:rPr>
              <a:t>This allows us to get the PDF posted to Brand World, the website, and Sales Spot.</a:t>
            </a:r>
            <a:endParaRPr lang="en-US">
              <a:solidFill>
                <a:srgbClr val="000000"/>
              </a:solidFill>
              <a:ea typeface="Roboto"/>
              <a:cs typeface="Roboto"/>
            </a:endParaRPr>
          </a:p>
          <a:p>
            <a:pPr marL="0" indent="0">
              <a:buNone/>
            </a:pPr>
            <a:endParaRPr lang="en-US">
              <a:solidFill>
                <a:srgbClr val="000000"/>
              </a:solidFill>
              <a:ea typeface="Roboto"/>
              <a:cs typeface="Arial"/>
            </a:endParaRPr>
          </a:p>
          <a:p>
            <a:pPr>
              <a:buFont typeface="Arial"/>
              <a:buChar char="•"/>
            </a:pPr>
            <a:r>
              <a:rPr lang="en-US">
                <a:solidFill>
                  <a:srgbClr val="000000"/>
                </a:solidFill>
                <a:ea typeface="Roboto"/>
                <a:cs typeface="Arial"/>
              </a:rPr>
              <a:t>Types of requests:</a:t>
            </a:r>
            <a:endParaRPr lang="en-US">
              <a:solidFill>
                <a:srgbClr val="2B3A42"/>
              </a:solidFill>
              <a:ea typeface="Roboto"/>
              <a:cs typeface="Arial"/>
            </a:endParaRPr>
          </a:p>
          <a:p>
            <a:pPr marL="651510" lvl="1" indent="-285750">
              <a:buFont typeface="Courier New,monospace"/>
              <a:buChar char="o"/>
            </a:pPr>
            <a:r>
              <a:rPr lang="en-US">
                <a:solidFill>
                  <a:srgbClr val="000000"/>
                </a:solidFill>
                <a:ea typeface="Roboto"/>
                <a:cs typeface="Arial"/>
              </a:rPr>
              <a:t>Add new asset</a:t>
            </a:r>
            <a:endParaRPr lang="en-US">
              <a:solidFill>
                <a:srgbClr val="2B3A42"/>
              </a:solidFill>
              <a:ea typeface="Roboto"/>
              <a:cs typeface="Arial"/>
            </a:endParaRPr>
          </a:p>
          <a:p>
            <a:pPr marL="651510" lvl="1" indent="-285750">
              <a:buFont typeface="Courier New,monospace"/>
              <a:buChar char="o"/>
            </a:pPr>
            <a:r>
              <a:rPr lang="en-US">
                <a:solidFill>
                  <a:srgbClr val="000000"/>
                </a:solidFill>
                <a:ea typeface="Roboto"/>
                <a:cs typeface="Arial"/>
              </a:rPr>
              <a:t>Replace an asset</a:t>
            </a:r>
            <a:endParaRPr lang="en-US">
              <a:solidFill>
                <a:srgbClr val="2B3A42"/>
              </a:solidFill>
              <a:ea typeface="Roboto"/>
              <a:cs typeface="Arial"/>
            </a:endParaRPr>
          </a:p>
          <a:p>
            <a:pPr marL="651510" lvl="1" indent="-285750">
              <a:buFont typeface="Courier New,monospace"/>
              <a:buChar char="o"/>
            </a:pPr>
            <a:r>
              <a:rPr lang="en-US">
                <a:solidFill>
                  <a:srgbClr val="000000"/>
                </a:solidFill>
                <a:ea typeface="Roboto"/>
                <a:cs typeface="Arial"/>
              </a:rPr>
              <a:t>Remove an asset</a:t>
            </a:r>
            <a:endParaRPr lang="en-US">
              <a:solidFill>
                <a:srgbClr val="2B3A42"/>
              </a:solidFill>
              <a:ea typeface="Roboto"/>
              <a:cs typeface="Arial"/>
            </a:endParaRPr>
          </a:p>
          <a:p>
            <a:pPr marL="0" indent="0">
              <a:buNone/>
            </a:pPr>
            <a:endParaRPr lang="en-US">
              <a:solidFill>
                <a:srgbClr val="000000"/>
              </a:solidFill>
              <a:ea typeface="Roboto"/>
              <a:cs typeface="Arial" panose="020B0604020202020204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0" i="0">
                <a:solidFill>
                  <a:srgbClr val="000000"/>
                </a:solidFill>
                <a:effectLst/>
              </a:rPr>
              <a:t>Only one asset can be submitted per form.</a:t>
            </a:r>
            <a:br>
              <a:rPr lang="en-US" sz="1600">
                <a:latin typeface="Arial"/>
              </a:rPr>
            </a:br>
            <a:endParaRPr lang="en-US" b="0" i="0">
              <a:solidFill>
                <a:srgbClr val="000000"/>
              </a:solidFill>
              <a:effectLst/>
              <a:latin typeface="Arial"/>
              <a:ea typeface="Roboto"/>
              <a:cs typeface="Roboto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000000"/>
                </a:solidFill>
                <a:effectLst/>
                <a:latin typeface="Arial"/>
                <a:ea typeface="Roboto"/>
                <a:cs typeface="Roboto"/>
              </a:rPr>
              <a:t>SLA - Requests are completed within five U.S. business days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030050F-80B0-B3BC-3D8A-F81FDE6E4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 to Website Request Intake form</a:t>
            </a:r>
          </a:p>
        </p:txBody>
      </p: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0165A91-563B-424F-FC86-B636B05DC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9916" y="4436463"/>
            <a:ext cx="4944762" cy="1671508"/>
          </a:xfrm>
          <a:prstGeom prst="rect">
            <a:avLst/>
          </a:prstGeom>
        </p:spPr>
      </p:pic>
      <p:pic>
        <p:nvPicPr>
          <p:cNvPr id="6" name="Content Placeholder 5" descr="A screenshot of a form&#10;&#10;AI-generated content may be incorrect.">
            <a:extLst>
              <a:ext uri="{FF2B5EF4-FFF2-40B4-BE49-F238E27FC236}">
                <a16:creationId xmlns:a16="http://schemas.microsoft.com/office/drawing/2014/main" id="{E98C08D3-5754-E40D-F8F0-7F081D65DD8B}"/>
              </a:ext>
            </a:extLst>
          </p:cNvPr>
          <p:cNvPicPr>
            <a:picLocks noGrp="1" noChangeAspect="1"/>
          </p:cNvPicPr>
          <p:nvPr>
            <p:ph idx="19"/>
          </p:nvPr>
        </p:nvPicPr>
        <p:blipFill>
          <a:blip r:embed="rId4"/>
          <a:stretch>
            <a:fillRect/>
          </a:stretch>
        </p:blipFill>
        <p:spPr>
          <a:xfrm>
            <a:off x="6001559" y="1175284"/>
            <a:ext cx="4677444" cy="3132529"/>
          </a:xfrm>
        </p:spPr>
      </p:pic>
    </p:spTree>
    <p:extLst>
      <p:ext uri="{BB962C8B-B14F-4D97-AF65-F5344CB8AC3E}">
        <p14:creationId xmlns:p14="http://schemas.microsoft.com/office/powerpoint/2010/main" val="143339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Top Corners Rounded 43">
            <a:extLst>
              <a:ext uri="{FF2B5EF4-FFF2-40B4-BE49-F238E27FC236}">
                <a16:creationId xmlns:a16="http://schemas.microsoft.com/office/drawing/2014/main" id="{8C82FDB8-FDFC-4DE6-8ED5-3760248824EC}"/>
              </a:ext>
            </a:extLst>
          </p:cNvPr>
          <p:cNvSpPr/>
          <p:nvPr/>
        </p:nvSpPr>
        <p:spPr>
          <a:xfrm rot="5400000">
            <a:off x="7626034" y="156620"/>
            <a:ext cx="928504" cy="630687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F91DC971-5017-4EDC-9268-1CE555C982D8}"/>
              </a:ext>
            </a:extLst>
          </p:cNvPr>
          <p:cNvSpPr/>
          <p:nvPr/>
        </p:nvSpPr>
        <p:spPr>
          <a:xfrm rot="5400000">
            <a:off x="7426353" y="1693336"/>
            <a:ext cx="928504" cy="640936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840E4A65-4DC3-48CB-BE3A-900C179B8226}"/>
              </a:ext>
            </a:extLst>
          </p:cNvPr>
          <p:cNvSpPr/>
          <p:nvPr/>
        </p:nvSpPr>
        <p:spPr>
          <a:xfrm rot="5400000">
            <a:off x="7080078" y="-1206600"/>
            <a:ext cx="928504" cy="630687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3035C4-E932-45A9-9FB5-2780CE3BA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509" y="483497"/>
            <a:ext cx="2089449" cy="451222"/>
          </a:xfrm>
        </p:spPr>
        <p:txBody>
          <a:bodyPr/>
          <a:lstStyle/>
          <a:p>
            <a:r>
              <a:rPr lang="en-US" sz="2400"/>
              <a:t>Asset types: </a:t>
            </a: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A2B1A4BB-BF07-4530-8664-0266306067E7}"/>
              </a:ext>
            </a:extLst>
          </p:cNvPr>
          <p:cNvSpPr/>
          <p:nvPr/>
        </p:nvSpPr>
        <p:spPr>
          <a:xfrm rot="7560295">
            <a:off x="761037" y="1864450"/>
            <a:ext cx="2719920" cy="2719920"/>
          </a:xfrm>
          <a:prstGeom prst="arc">
            <a:avLst>
              <a:gd name="adj1" fmla="val 16200000"/>
              <a:gd name="adj2" fmla="val 9884489"/>
            </a:avLst>
          </a:prstGeom>
          <a:ln w="152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FBFAF53B-5F35-4A71-A836-366B8B5DADD7}"/>
              </a:ext>
            </a:extLst>
          </p:cNvPr>
          <p:cNvSpPr/>
          <p:nvPr/>
        </p:nvSpPr>
        <p:spPr>
          <a:xfrm rot="5400000">
            <a:off x="1025343" y="2112582"/>
            <a:ext cx="2197178" cy="2197178"/>
          </a:xfrm>
          <a:prstGeom prst="arc">
            <a:avLst>
              <a:gd name="adj1" fmla="val 16200000"/>
              <a:gd name="adj2" fmla="val 7105866"/>
            </a:avLst>
          </a:prstGeom>
          <a:ln w="152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6E3F446B-E69C-4533-B3BE-B2B1FE1E2250}"/>
              </a:ext>
            </a:extLst>
          </p:cNvPr>
          <p:cNvSpPr/>
          <p:nvPr/>
        </p:nvSpPr>
        <p:spPr>
          <a:xfrm rot="3066051">
            <a:off x="1298434" y="2381179"/>
            <a:ext cx="1659981" cy="1659981"/>
          </a:xfrm>
          <a:prstGeom prst="arc">
            <a:avLst>
              <a:gd name="adj1" fmla="val 16200000"/>
              <a:gd name="adj2" fmla="val 4901015"/>
            </a:avLst>
          </a:prstGeom>
          <a:ln w="15240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5317ACE-B718-4135-92C3-81FDEF8A9278}"/>
              </a:ext>
            </a:extLst>
          </p:cNvPr>
          <p:cNvCxnSpPr>
            <a:cxnSpLocks/>
          </p:cNvCxnSpPr>
          <p:nvPr/>
        </p:nvCxnSpPr>
        <p:spPr>
          <a:xfrm flipH="1">
            <a:off x="2762863" y="2233875"/>
            <a:ext cx="547066" cy="441988"/>
          </a:xfrm>
          <a:prstGeom prst="line">
            <a:avLst/>
          </a:prstGeom>
          <a:ln w="15240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5BA863-AD6D-4432-B80B-9012D0F76EEC}"/>
              </a:ext>
            </a:extLst>
          </p:cNvPr>
          <p:cNvCxnSpPr>
            <a:cxnSpLocks/>
          </p:cNvCxnSpPr>
          <p:nvPr/>
        </p:nvCxnSpPr>
        <p:spPr>
          <a:xfrm flipH="1">
            <a:off x="3234390" y="3197043"/>
            <a:ext cx="583146" cy="0"/>
          </a:xfrm>
          <a:prstGeom prst="line">
            <a:avLst/>
          </a:prstGeom>
          <a:ln w="152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921B080-4D6D-4A13-ACA7-3D6ABF8E97C6}"/>
              </a:ext>
            </a:extLst>
          </p:cNvPr>
          <p:cNvCxnSpPr>
            <a:cxnSpLocks/>
          </p:cNvCxnSpPr>
          <p:nvPr/>
        </p:nvCxnSpPr>
        <p:spPr>
          <a:xfrm flipH="1" flipV="1">
            <a:off x="3241653" y="4008428"/>
            <a:ext cx="509552" cy="411679"/>
          </a:xfrm>
          <a:prstGeom prst="line">
            <a:avLst/>
          </a:prstGeom>
          <a:ln w="152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569192AC-46FF-4C20-9689-4433BB6AB33E}"/>
              </a:ext>
            </a:extLst>
          </p:cNvPr>
          <p:cNvSpPr/>
          <p:nvPr/>
        </p:nvSpPr>
        <p:spPr>
          <a:xfrm>
            <a:off x="6438363" y="1353141"/>
            <a:ext cx="3808267" cy="928505"/>
          </a:xfrm>
          <a:prstGeom prst="rect">
            <a:avLst/>
          </a:prstGeom>
        </p:spPr>
        <p:txBody>
          <a:bodyPr wrap="square" lIns="180000" rIns="180000" bIns="0" anchor="ctr">
            <a:noAutofit/>
          </a:bodyPr>
          <a:lstStyle/>
          <a:p>
            <a:pPr lvl="0" fontAlgn="base">
              <a:spcAft>
                <a:spcPts val="300"/>
              </a:spcAft>
              <a:defRPr/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46EC415-952D-4125-9D47-A6A4FDA802E1}"/>
              </a:ext>
            </a:extLst>
          </p:cNvPr>
          <p:cNvSpPr/>
          <p:nvPr/>
        </p:nvSpPr>
        <p:spPr>
          <a:xfrm>
            <a:off x="7036201" y="2852209"/>
            <a:ext cx="3856767" cy="928505"/>
          </a:xfrm>
          <a:prstGeom prst="rect">
            <a:avLst/>
          </a:prstGeom>
        </p:spPr>
        <p:txBody>
          <a:bodyPr wrap="square" lIns="180000" rIns="180000" bIns="0" anchor="ctr">
            <a:noAutofit/>
          </a:bodyPr>
          <a:lstStyle/>
          <a:p>
            <a:pPr lvl="0" fontAlgn="base">
              <a:spcAft>
                <a:spcPts val="300"/>
              </a:spcAft>
              <a:defRPr/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722D177-5029-4D98-B6A4-1317BFABAD64}"/>
              </a:ext>
            </a:extLst>
          </p:cNvPr>
          <p:cNvSpPr/>
          <p:nvPr/>
        </p:nvSpPr>
        <p:spPr>
          <a:xfrm>
            <a:off x="6929285" y="4433767"/>
            <a:ext cx="3856768" cy="928505"/>
          </a:xfrm>
          <a:prstGeom prst="rect">
            <a:avLst/>
          </a:prstGeom>
        </p:spPr>
        <p:txBody>
          <a:bodyPr wrap="square" lIns="180000" rIns="180000" bIns="0" anchor="ctr">
            <a:noAutofit/>
          </a:bodyPr>
          <a:lstStyle/>
          <a:p>
            <a:pPr lvl="0" fontAlgn="base">
              <a:spcAft>
                <a:spcPts val="300"/>
              </a:spcAft>
              <a:defRPr/>
            </a:pPr>
            <a:endParaRPr lang="en-US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C781F87-C10A-436E-A7C9-7D366A583B13}"/>
              </a:ext>
            </a:extLst>
          </p:cNvPr>
          <p:cNvSpPr/>
          <p:nvPr/>
        </p:nvSpPr>
        <p:spPr>
          <a:xfrm>
            <a:off x="3163891" y="1291532"/>
            <a:ext cx="1322766" cy="1322766"/>
          </a:xfrm>
          <a:prstGeom prst="ellipse">
            <a:avLst/>
          </a:prstGeom>
          <a:solidFill>
            <a:schemeClr val="bg1"/>
          </a:solidFill>
          <a:ln w="152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3FA68558-35AD-4E25-97EB-74D363400259}"/>
              </a:ext>
            </a:extLst>
          </p:cNvPr>
          <p:cNvSpPr/>
          <p:nvPr/>
        </p:nvSpPr>
        <p:spPr>
          <a:xfrm>
            <a:off x="3508328" y="4186199"/>
            <a:ext cx="1322766" cy="1322766"/>
          </a:xfrm>
          <a:prstGeom prst="ellipse">
            <a:avLst/>
          </a:prstGeom>
          <a:solidFill>
            <a:schemeClr val="bg1"/>
          </a:solidFill>
          <a:ln w="152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13ECE162-F722-4688-8C6D-016EDEB59D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337521" y="1527344"/>
            <a:ext cx="879739" cy="87973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5278F80-6985-8536-FC48-F0C88C31FDDA}"/>
              </a:ext>
            </a:extLst>
          </p:cNvPr>
          <p:cNvSpPr/>
          <p:nvPr/>
        </p:nvSpPr>
        <p:spPr>
          <a:xfrm>
            <a:off x="4333035" y="3197043"/>
            <a:ext cx="142670" cy="2785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14" name="Graphic 13" descr="Web design outline">
            <a:extLst>
              <a:ext uri="{FF2B5EF4-FFF2-40B4-BE49-F238E27FC236}">
                <a16:creationId xmlns:a16="http://schemas.microsoft.com/office/drawing/2014/main" id="{0EF17E1D-8516-0E06-CC38-E45E35C121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94974" y="2675863"/>
            <a:ext cx="914400" cy="914400"/>
          </a:xfrm>
          <a:prstGeom prst="rect">
            <a:avLst/>
          </a:prstGeom>
        </p:spPr>
      </p:pic>
      <p:pic>
        <p:nvPicPr>
          <p:cNvPr id="16" name="Graphic 15" descr="Clapper board with solid fill">
            <a:extLst>
              <a:ext uri="{FF2B5EF4-FFF2-40B4-BE49-F238E27FC236}">
                <a16:creationId xmlns:a16="http://schemas.microsoft.com/office/drawing/2014/main" id="{D0FE228A-CB37-897B-DE17-D133F1783B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06031" y="2896191"/>
            <a:ext cx="742321" cy="742321"/>
          </a:xfrm>
          <a:prstGeom prst="rect">
            <a:avLst/>
          </a:prstGeom>
        </p:spPr>
      </p:pic>
      <p:pic>
        <p:nvPicPr>
          <p:cNvPr id="18" name="Graphic 17" descr="Podcast with solid fill">
            <a:extLst>
              <a:ext uri="{FF2B5EF4-FFF2-40B4-BE49-F238E27FC236}">
                <a16:creationId xmlns:a16="http://schemas.microsoft.com/office/drawing/2014/main" id="{9095C8F5-006A-1B26-D604-7BAC01282A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98113" y="4353302"/>
            <a:ext cx="914400" cy="9144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D28F28B-FDFB-B007-F443-AC34AB9F6700}"/>
              </a:ext>
            </a:extLst>
          </p:cNvPr>
          <p:cNvSpPr txBox="1"/>
          <p:nvPr/>
        </p:nvSpPr>
        <p:spPr>
          <a:xfrm>
            <a:off x="4482713" y="1552907"/>
            <a:ext cx="592771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>
                <a:solidFill>
                  <a:schemeClr val="bg1"/>
                </a:solidFill>
              </a:rPr>
              <a:t>Fact Sheet, Whitepaper, Case Study, Publication, Brochures, Infographics, Insight Brief, Institute report &amp; Presentation… (PDF files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00D1CBF-096A-9A6E-377D-A6A78FCD41E6}"/>
              </a:ext>
            </a:extLst>
          </p:cNvPr>
          <p:cNvSpPr txBox="1"/>
          <p:nvPr/>
        </p:nvSpPr>
        <p:spPr>
          <a:xfrm>
            <a:off x="5060769" y="3106235"/>
            <a:ext cx="4015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Video asset ( Brightcove link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D1DE0D-9135-E92F-26F8-F0A11B4B5E73}"/>
              </a:ext>
            </a:extLst>
          </p:cNvPr>
          <p:cNvSpPr txBox="1"/>
          <p:nvPr/>
        </p:nvSpPr>
        <p:spPr>
          <a:xfrm>
            <a:off x="4897708" y="4728742"/>
            <a:ext cx="36028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chemeClr val="bg1"/>
                </a:solidFill>
              </a:rPr>
              <a:t>Podcasts ( </a:t>
            </a:r>
            <a:r>
              <a:rPr lang="en-US" sz="1600" err="1">
                <a:solidFill>
                  <a:schemeClr val="bg1"/>
                </a:solidFill>
              </a:rPr>
              <a:t>Buzzsprout</a:t>
            </a:r>
            <a:r>
              <a:rPr lang="en-US" sz="1600">
                <a:solidFill>
                  <a:schemeClr val="bg1"/>
                </a:solidFill>
              </a:rPr>
              <a:t> link )</a:t>
            </a:r>
          </a:p>
        </p:txBody>
      </p:sp>
    </p:spTree>
    <p:extLst>
      <p:ext uri="{BB962C8B-B14F-4D97-AF65-F5344CB8AC3E}">
        <p14:creationId xmlns:p14="http://schemas.microsoft.com/office/powerpoint/2010/main" val="425517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A8027A94C54E8B871968FAA6C492" ma:contentTypeVersion="20" ma:contentTypeDescription="Create a new document." ma:contentTypeScope="" ma:versionID="ad28878c911ec4aa9c8f8cac17fa5600">
  <xsd:schema xmlns:xsd="http://www.w3.org/2001/XMLSchema" xmlns:xs="http://www.w3.org/2001/XMLSchema" xmlns:p="http://schemas.microsoft.com/office/2006/metadata/properties" xmlns:ns2="a3d99252-4236-4875-9705-b79300e2d557" xmlns:ns3="1c9b69b2-596d-4757-b9cd-cd8972304baa" targetNamespace="http://schemas.microsoft.com/office/2006/metadata/properties" ma:root="true" ma:fieldsID="c8d0122162291121ea0cc7ece83b8807" ns2:_="" ns3:_="">
    <xsd:import namespace="a3d99252-4236-4875-9705-b79300e2d557"/>
    <xsd:import namespace="1c9b69b2-596d-4757-b9cd-cd8972304b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DocTag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About" minOccurs="0"/>
                <xsd:element ref="ns2:Own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9252-4236-4875-9705-b79300e2d5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bout" ma:index="24" nillable="true" ma:displayName="About" ma:format="Dropdown" ma:internalName="About">
      <xsd:simpleType>
        <xsd:restriction base="dms:Text">
          <xsd:maxLength value="255"/>
        </xsd:restriction>
      </xsd:simpleType>
    </xsd:element>
    <xsd:element name="Owner" ma:index="25" nillable="true" ma:displayName="Owner" ma:format="Dropdown" ma:internalName="Owne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9b69b2-596d-4757-b9cd-cd8972304b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7e752f-aa54-418c-a827-14a947def056}" ma:internalName="TaxCatchAll" ma:showField="CatchAllData" ma:web="1c9b69b2-596d-4757-b9cd-cd8972304b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a3d99252-4236-4875-9705-b79300e2d557" xsi:nil="true"/>
    <About xmlns="a3d99252-4236-4875-9705-b79300e2d557" xsi:nil="true"/>
    <lcf76f155ced4ddcb4097134ff3c332f xmlns="a3d99252-4236-4875-9705-b79300e2d557">
      <Terms xmlns="http://schemas.microsoft.com/office/infopath/2007/PartnerControls"/>
    </lcf76f155ced4ddcb4097134ff3c332f>
    <TaxCatchAll xmlns="1c9b69b2-596d-4757-b9cd-cd8972304baa" xsi:nil="true"/>
  </documentManagement>
</p:properties>
</file>

<file path=customXml/itemProps1.xml><?xml version="1.0" encoding="utf-8"?>
<ds:datastoreItem xmlns:ds="http://schemas.openxmlformats.org/officeDocument/2006/customXml" ds:itemID="{753AF4DA-AA47-449A-B7EA-F44B529ED76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AB7421-7E0C-4958-A162-48C6883F6D69}">
  <ds:schemaRefs>
    <ds:schemaRef ds:uri="1c9b69b2-596d-4757-b9cd-cd8972304baa"/>
    <ds:schemaRef ds:uri="a3d99252-4236-4875-9705-b79300e2d5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2A24A9A-DA66-422C-9E0E-33E4A5BFE613}">
  <ds:schemaRefs>
    <ds:schemaRef ds:uri="1c9b69b2-596d-4757-b9cd-cd8972304baa"/>
    <ds:schemaRef ds:uri="a3d99252-4236-4875-9705-b79300e2d557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92</Words>
  <Application>Microsoft Office PowerPoint</Application>
  <PresentationFormat>Widescreen</PresentationFormat>
  <Paragraphs>120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Arial Narrow</vt:lpstr>
      <vt:lpstr>Calibri</vt:lpstr>
      <vt:lpstr>Courier New</vt:lpstr>
      <vt:lpstr>Courier New,monospace</vt:lpstr>
      <vt:lpstr>Georgia</vt:lpstr>
      <vt:lpstr>Roboto</vt:lpstr>
      <vt:lpstr>System Font Regular</vt:lpstr>
      <vt:lpstr>Wingdings</vt:lpstr>
      <vt:lpstr>IQVIA_V3.0.0</vt:lpstr>
      <vt:lpstr>think-cell Slide</vt:lpstr>
      <vt:lpstr>Optimizing Website Request Intake: An In-Depth Analysis</vt:lpstr>
      <vt:lpstr>Agenda</vt:lpstr>
      <vt:lpstr>Marketing Operations Open Office Hours </vt:lpstr>
      <vt:lpstr>Introduction to Website Request Intake form - Smartsheet</vt:lpstr>
      <vt:lpstr>Best Practice: Content creation on Website</vt:lpstr>
      <vt:lpstr>PowerPoint Presentation</vt:lpstr>
      <vt:lpstr>Introduction to Website Request Intake form – Service Now</vt:lpstr>
      <vt:lpstr>Introduction to Website Request Intake form</vt:lpstr>
      <vt:lpstr>Asset types: </vt:lpstr>
      <vt:lpstr>Best Practice: Content creation on Website</vt:lpstr>
      <vt:lpstr>PowerPoint Presentation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zing Website Request Intake: An In-Depth Analysis</dc:title>
  <dc:creator>Kamboj, Sandeep</dc:creator>
  <cp:lastModifiedBy>Cuff, Phil</cp:lastModifiedBy>
  <cp:revision>2</cp:revision>
  <cp:lastPrinted>2019-08-20T20:33:24Z</cp:lastPrinted>
  <dcterms:created xsi:type="dcterms:W3CDTF">2025-01-31T12:04:38Z</dcterms:created>
  <dcterms:modified xsi:type="dcterms:W3CDTF">2025-02-06T14:3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A8027A94C54E8B871968FAA6C492</vt:lpwstr>
  </property>
  <property fmtid="{D5CDD505-2E9C-101B-9397-08002B2CF9AE}" pid="3" name="MediaServiceImageTags">
    <vt:lpwstr/>
  </property>
</Properties>
</file>